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</p:sldMasterIdLst>
  <p:notesMasterIdLst>
    <p:notesMasterId r:id="rId19"/>
  </p:notesMasterIdLst>
  <p:sldIdLst>
    <p:sldId id="2147477218" r:id="rId5"/>
    <p:sldId id="2147477208" r:id="rId6"/>
    <p:sldId id="2147477212" r:id="rId7"/>
    <p:sldId id="2147477217" r:id="rId8"/>
    <p:sldId id="2147483323" r:id="rId9"/>
    <p:sldId id="2147477213" r:id="rId10"/>
    <p:sldId id="2147471467" r:id="rId11"/>
    <p:sldId id="2147477219" r:id="rId12"/>
    <p:sldId id="2147483324" r:id="rId13"/>
    <p:sldId id="2147483326" r:id="rId14"/>
    <p:sldId id="2147483327" r:id="rId15"/>
    <p:sldId id="2147483328" r:id="rId16"/>
    <p:sldId id="2147483329" r:id="rId17"/>
    <p:sldId id="2147483330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D3E8FD-AC17-47DC-8592-2A6A407B8592}" v="314" dt="2024-04-23T10:39:16.89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77" autoAdjust="0"/>
    <p:restoredTop sz="94504" autoAdjust="0"/>
  </p:normalViewPr>
  <p:slideViewPr>
    <p:cSldViewPr snapToGrid="0">
      <p:cViewPr varScale="1">
        <p:scale>
          <a:sx n="67" d="100"/>
          <a:sy n="67" d="100"/>
        </p:scale>
        <p:origin x="6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vel1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15</c:v>
                </c:pt>
                <c:pt idx="1">
                  <c:v>10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DA-4DCA-9142-69DE9AD2E6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evel2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0</c:v>
                </c:pt>
                <c:pt idx="1">
                  <c:v>15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DA-4DCA-9142-69DE9AD2E6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evel3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3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D$2:$D$4</c:f>
              <c:numCache>
                <c:formatCode>0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DA-4DCA-9142-69DE9AD2E6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354912"/>
        <c:axId val="141323008"/>
      </c:radarChart>
      <c:catAx>
        <c:axId val="603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323008"/>
        <c:crosses val="autoZero"/>
        <c:auto val="1"/>
        <c:lblAlgn val="ctr"/>
        <c:lblOffset val="100"/>
        <c:noMultiLvlLbl val="0"/>
      </c:catAx>
      <c:valAx>
        <c:axId val="141323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354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radarChart>
        <c:radarStyle val="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vel1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1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15</c:v>
                </c:pt>
                <c:pt idx="1">
                  <c:v>10</c:v>
                </c:pt>
                <c:pt idx="2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DA-4DCA-9142-69DE9AD2E6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evel2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2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0</c:v>
                </c:pt>
                <c:pt idx="1">
                  <c:v>15</c:v>
                </c:pt>
                <c:pt idx="2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DA-4DCA-9142-69DE9AD2E6D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evel3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3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cat>
            <c:strRef>
              <c:f>Sheet1!$A$2:$A$4</c:f>
              <c:strCache>
                <c:ptCount val="3"/>
                <c:pt idx="0">
                  <c:v>Skill1</c:v>
                </c:pt>
                <c:pt idx="1">
                  <c:v>Skill2</c:v>
                </c:pt>
                <c:pt idx="2">
                  <c:v>Skill3</c:v>
                </c:pt>
              </c:strCache>
            </c:strRef>
          </c:cat>
          <c:val>
            <c:numRef>
              <c:f>Sheet1!$D$2:$D$4</c:f>
              <c:numCache>
                <c:formatCode>0</c:formatCode>
                <c:ptCount val="3"/>
                <c:pt idx="0">
                  <c:v>20</c:v>
                </c:pt>
                <c:pt idx="1">
                  <c:v>2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DA-4DCA-9142-69DE9AD2E6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0354912"/>
        <c:axId val="141323008"/>
      </c:radarChart>
      <c:catAx>
        <c:axId val="603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1323008"/>
        <c:crosses val="autoZero"/>
        <c:auto val="1"/>
        <c:lblAlgn val="ctr"/>
        <c:lblOffset val="100"/>
        <c:noMultiLvlLbl val="0"/>
      </c:catAx>
      <c:valAx>
        <c:axId val="141323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354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9C74AF-7AEB-4AC0-B7DD-D5BE98A8635F}" type="doc">
      <dgm:prSet loTypeId="urn:microsoft.com/office/officeart/2005/8/layout/gear1" loCatId="cycle" qsTypeId="urn:microsoft.com/office/officeart/2005/8/quickstyle/simple1" qsCatId="simple" csTypeId="urn:microsoft.com/office/officeart/2005/8/colors/accent0_3" csCatId="mainScheme" phldr="1"/>
      <dgm:spPr/>
    </dgm:pt>
    <dgm:pt modelId="{0DE10015-C1A9-4F78-BDB7-0C61A49C8E5D}">
      <dgm:prSet phldrT="[Text]" custT="1"/>
      <dgm:spPr/>
      <dgm:t>
        <a:bodyPr/>
        <a:lstStyle/>
        <a:p>
          <a:r>
            <a:rPr lang="en-US" sz="1100" dirty="0"/>
            <a:t>Skill Shortage</a:t>
          </a:r>
        </a:p>
      </dgm:t>
    </dgm:pt>
    <dgm:pt modelId="{2BA36FA9-333B-4E73-AD51-71E338677B4A}" type="parTrans" cxnId="{01879AF7-33B5-4FA0-BFC0-78FE9D430769}">
      <dgm:prSet/>
      <dgm:spPr/>
      <dgm:t>
        <a:bodyPr/>
        <a:lstStyle/>
        <a:p>
          <a:endParaRPr lang="en-US" sz="1800"/>
        </a:p>
      </dgm:t>
    </dgm:pt>
    <dgm:pt modelId="{08E47A84-257F-4753-8CE3-B21EBA040248}" type="sibTrans" cxnId="{01879AF7-33B5-4FA0-BFC0-78FE9D430769}">
      <dgm:prSet/>
      <dgm:spPr/>
      <dgm:t>
        <a:bodyPr/>
        <a:lstStyle/>
        <a:p>
          <a:endParaRPr lang="en-US" sz="1800"/>
        </a:p>
      </dgm:t>
    </dgm:pt>
    <dgm:pt modelId="{92E441B6-F8C2-4CEC-9CA6-C9F860CE8F22}">
      <dgm:prSet phldrT="[Text]" custT="1"/>
      <dgm:spPr/>
      <dgm:t>
        <a:bodyPr/>
        <a:lstStyle/>
        <a:p>
          <a:r>
            <a:rPr lang="en-US" sz="1100" dirty="0"/>
            <a:t>Increased Work Hours</a:t>
          </a:r>
        </a:p>
      </dgm:t>
    </dgm:pt>
    <dgm:pt modelId="{0F93E6D9-2AE8-4C06-9E41-DEB935777904}" type="parTrans" cxnId="{D5EE4616-7F68-492D-A9CC-08AD72DD32CC}">
      <dgm:prSet/>
      <dgm:spPr/>
      <dgm:t>
        <a:bodyPr/>
        <a:lstStyle/>
        <a:p>
          <a:endParaRPr lang="en-US" sz="1800"/>
        </a:p>
      </dgm:t>
    </dgm:pt>
    <dgm:pt modelId="{3A643577-68B6-45E6-9E91-1D766505BFCF}" type="sibTrans" cxnId="{D5EE4616-7F68-492D-A9CC-08AD72DD32CC}">
      <dgm:prSet/>
      <dgm:spPr/>
      <dgm:t>
        <a:bodyPr/>
        <a:lstStyle/>
        <a:p>
          <a:endParaRPr lang="en-US" sz="1800"/>
        </a:p>
      </dgm:t>
    </dgm:pt>
    <dgm:pt modelId="{B6E9AA58-30C2-4D23-8909-3AA2EA87D7A1}">
      <dgm:prSet phldrT="[Text]" custT="1"/>
      <dgm:spPr/>
      <dgm:t>
        <a:bodyPr/>
        <a:lstStyle/>
        <a:p>
          <a:r>
            <a:rPr lang="en-US" sz="1100" dirty="0"/>
            <a:t>Lack of specialized skills</a:t>
          </a:r>
        </a:p>
      </dgm:t>
    </dgm:pt>
    <dgm:pt modelId="{E5282884-0FCE-4C5F-82C6-B2CAD5DDFB76}" type="parTrans" cxnId="{076B5AE6-2F25-41C1-809E-44E3291C7FD9}">
      <dgm:prSet/>
      <dgm:spPr/>
      <dgm:t>
        <a:bodyPr/>
        <a:lstStyle/>
        <a:p>
          <a:endParaRPr lang="en-US" sz="1800"/>
        </a:p>
      </dgm:t>
    </dgm:pt>
    <dgm:pt modelId="{082764FF-A1A0-4FF1-A635-1A1224304480}" type="sibTrans" cxnId="{076B5AE6-2F25-41C1-809E-44E3291C7FD9}">
      <dgm:prSet/>
      <dgm:spPr/>
      <dgm:t>
        <a:bodyPr/>
        <a:lstStyle/>
        <a:p>
          <a:endParaRPr lang="en-US" sz="1800"/>
        </a:p>
      </dgm:t>
    </dgm:pt>
    <dgm:pt modelId="{6E2C607F-C427-4357-BF9A-E82408A2B198}">
      <dgm:prSet phldrT="[Text]"/>
      <dgm:spPr/>
      <dgm:t>
        <a:bodyPr/>
        <a:lstStyle/>
        <a:p>
          <a:endParaRPr lang="en-US" sz="1800" dirty="0"/>
        </a:p>
      </dgm:t>
    </dgm:pt>
    <dgm:pt modelId="{F1E68A7F-1E37-41B5-A57A-DED080C9CE50}" type="parTrans" cxnId="{802492FE-26F9-4C23-A5D2-9686D4D2459B}">
      <dgm:prSet/>
      <dgm:spPr/>
      <dgm:t>
        <a:bodyPr/>
        <a:lstStyle/>
        <a:p>
          <a:endParaRPr lang="en-US" sz="1800"/>
        </a:p>
      </dgm:t>
    </dgm:pt>
    <dgm:pt modelId="{5889E6B8-178E-4689-A224-6BF3BFB4E4BE}" type="sibTrans" cxnId="{802492FE-26F9-4C23-A5D2-9686D4D2459B}">
      <dgm:prSet/>
      <dgm:spPr/>
      <dgm:t>
        <a:bodyPr/>
        <a:lstStyle/>
        <a:p>
          <a:endParaRPr lang="en-US" sz="1800"/>
        </a:p>
      </dgm:t>
    </dgm:pt>
    <dgm:pt modelId="{D7EA0541-7A18-4832-8768-C7F38CA2CC97}" type="pres">
      <dgm:prSet presAssocID="{499C74AF-7AEB-4AC0-B7DD-D5BE98A8635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789A6509-9736-4FD5-ABA2-F74850AED7CB}" type="pres">
      <dgm:prSet presAssocID="{0DE10015-C1A9-4F78-BDB7-0C61A49C8E5D}" presName="gear1" presStyleLbl="node1" presStyleIdx="0" presStyleCnt="3">
        <dgm:presLayoutVars>
          <dgm:chMax val="1"/>
          <dgm:bulletEnabled val="1"/>
        </dgm:presLayoutVars>
      </dgm:prSet>
      <dgm:spPr/>
    </dgm:pt>
    <dgm:pt modelId="{27D45B07-A7C7-4842-9012-C0703209812D}" type="pres">
      <dgm:prSet presAssocID="{0DE10015-C1A9-4F78-BDB7-0C61A49C8E5D}" presName="gear1srcNode" presStyleLbl="node1" presStyleIdx="0" presStyleCnt="3"/>
      <dgm:spPr/>
    </dgm:pt>
    <dgm:pt modelId="{04B112EA-E6A1-4BC0-BB94-8657F53793BD}" type="pres">
      <dgm:prSet presAssocID="{0DE10015-C1A9-4F78-BDB7-0C61A49C8E5D}" presName="gear1dstNode" presStyleLbl="node1" presStyleIdx="0" presStyleCnt="3"/>
      <dgm:spPr/>
    </dgm:pt>
    <dgm:pt modelId="{0064D915-1F98-4D52-8251-CD6896905462}" type="pres">
      <dgm:prSet presAssocID="{92E441B6-F8C2-4CEC-9CA6-C9F860CE8F22}" presName="gear2" presStyleLbl="node1" presStyleIdx="1" presStyleCnt="3">
        <dgm:presLayoutVars>
          <dgm:chMax val="1"/>
          <dgm:bulletEnabled val="1"/>
        </dgm:presLayoutVars>
      </dgm:prSet>
      <dgm:spPr/>
    </dgm:pt>
    <dgm:pt modelId="{07D013D1-4A6B-487E-95B8-66EE5046D373}" type="pres">
      <dgm:prSet presAssocID="{92E441B6-F8C2-4CEC-9CA6-C9F860CE8F22}" presName="gear2srcNode" presStyleLbl="node1" presStyleIdx="1" presStyleCnt="3"/>
      <dgm:spPr/>
    </dgm:pt>
    <dgm:pt modelId="{38A95131-13AE-4693-8FB1-DB7FE901C682}" type="pres">
      <dgm:prSet presAssocID="{92E441B6-F8C2-4CEC-9CA6-C9F860CE8F22}" presName="gear2dstNode" presStyleLbl="node1" presStyleIdx="1" presStyleCnt="3"/>
      <dgm:spPr/>
    </dgm:pt>
    <dgm:pt modelId="{BB0A999C-9837-432D-8BDD-FE4F7457C9DF}" type="pres">
      <dgm:prSet presAssocID="{B6E9AA58-30C2-4D23-8909-3AA2EA87D7A1}" presName="gear3" presStyleLbl="node1" presStyleIdx="2" presStyleCnt="3"/>
      <dgm:spPr/>
    </dgm:pt>
    <dgm:pt modelId="{0B2BBCBE-AD15-4E0D-996D-4FFA266AF78D}" type="pres">
      <dgm:prSet presAssocID="{B6E9AA58-30C2-4D23-8909-3AA2EA87D7A1}" presName="gear3tx" presStyleLbl="node1" presStyleIdx="2" presStyleCnt="3">
        <dgm:presLayoutVars>
          <dgm:chMax val="1"/>
          <dgm:bulletEnabled val="1"/>
        </dgm:presLayoutVars>
      </dgm:prSet>
      <dgm:spPr/>
    </dgm:pt>
    <dgm:pt modelId="{38454A1E-E0AC-4153-8F8D-AFF8AC39CF6E}" type="pres">
      <dgm:prSet presAssocID="{B6E9AA58-30C2-4D23-8909-3AA2EA87D7A1}" presName="gear3srcNode" presStyleLbl="node1" presStyleIdx="2" presStyleCnt="3"/>
      <dgm:spPr/>
    </dgm:pt>
    <dgm:pt modelId="{BA393417-8F86-4460-96D3-F09FCD76A481}" type="pres">
      <dgm:prSet presAssocID="{B6E9AA58-30C2-4D23-8909-3AA2EA87D7A1}" presName="gear3dstNode" presStyleLbl="node1" presStyleIdx="2" presStyleCnt="3"/>
      <dgm:spPr/>
    </dgm:pt>
    <dgm:pt modelId="{D31ED3A8-136D-40F1-8F95-7040F438D26E}" type="pres">
      <dgm:prSet presAssocID="{08E47A84-257F-4753-8CE3-B21EBA040248}" presName="connector1" presStyleLbl="sibTrans2D1" presStyleIdx="0" presStyleCnt="3"/>
      <dgm:spPr/>
    </dgm:pt>
    <dgm:pt modelId="{11C727D0-F565-4A49-9DAC-98CF2A3F8278}" type="pres">
      <dgm:prSet presAssocID="{3A643577-68B6-45E6-9E91-1D766505BFCF}" presName="connector2" presStyleLbl="sibTrans2D1" presStyleIdx="1" presStyleCnt="3"/>
      <dgm:spPr/>
    </dgm:pt>
    <dgm:pt modelId="{A76DB17B-48E8-4033-8039-9788670AF133}" type="pres">
      <dgm:prSet presAssocID="{082764FF-A1A0-4FF1-A635-1A1224304480}" presName="connector3" presStyleLbl="sibTrans2D1" presStyleIdx="2" presStyleCnt="3"/>
      <dgm:spPr/>
    </dgm:pt>
  </dgm:ptLst>
  <dgm:cxnLst>
    <dgm:cxn modelId="{D5EE4616-7F68-492D-A9CC-08AD72DD32CC}" srcId="{499C74AF-7AEB-4AC0-B7DD-D5BE98A8635F}" destId="{92E441B6-F8C2-4CEC-9CA6-C9F860CE8F22}" srcOrd="1" destOrd="0" parTransId="{0F93E6D9-2AE8-4C06-9E41-DEB935777904}" sibTransId="{3A643577-68B6-45E6-9E91-1D766505BFCF}"/>
    <dgm:cxn modelId="{0A29AA1A-28D1-47EE-8961-A2392F2D0012}" type="presOf" srcId="{0DE10015-C1A9-4F78-BDB7-0C61A49C8E5D}" destId="{04B112EA-E6A1-4BC0-BB94-8657F53793BD}" srcOrd="2" destOrd="0" presId="urn:microsoft.com/office/officeart/2005/8/layout/gear1"/>
    <dgm:cxn modelId="{58922920-CB8B-451D-B193-3DA02312CBF8}" type="presOf" srcId="{0DE10015-C1A9-4F78-BDB7-0C61A49C8E5D}" destId="{27D45B07-A7C7-4842-9012-C0703209812D}" srcOrd="1" destOrd="0" presId="urn:microsoft.com/office/officeart/2005/8/layout/gear1"/>
    <dgm:cxn modelId="{153F3925-BD8B-44E8-90A6-6C938F59A86E}" type="presOf" srcId="{B6E9AA58-30C2-4D23-8909-3AA2EA87D7A1}" destId="{38454A1E-E0AC-4153-8F8D-AFF8AC39CF6E}" srcOrd="2" destOrd="0" presId="urn:microsoft.com/office/officeart/2005/8/layout/gear1"/>
    <dgm:cxn modelId="{21415525-D396-4D90-94F8-A19E8A908850}" type="presOf" srcId="{0DE10015-C1A9-4F78-BDB7-0C61A49C8E5D}" destId="{789A6509-9736-4FD5-ABA2-F74850AED7CB}" srcOrd="0" destOrd="0" presId="urn:microsoft.com/office/officeart/2005/8/layout/gear1"/>
    <dgm:cxn modelId="{6361E326-0E42-443E-A931-44DCA086376E}" type="presOf" srcId="{B6E9AA58-30C2-4D23-8909-3AA2EA87D7A1}" destId="{BB0A999C-9837-432D-8BDD-FE4F7457C9DF}" srcOrd="0" destOrd="0" presId="urn:microsoft.com/office/officeart/2005/8/layout/gear1"/>
    <dgm:cxn modelId="{497A9030-AB59-4993-A9C5-9F4C4AEF241A}" type="presOf" srcId="{92E441B6-F8C2-4CEC-9CA6-C9F860CE8F22}" destId="{07D013D1-4A6B-487E-95B8-66EE5046D373}" srcOrd="1" destOrd="0" presId="urn:microsoft.com/office/officeart/2005/8/layout/gear1"/>
    <dgm:cxn modelId="{5D520843-55AA-4C13-A91C-2CF190401439}" type="presOf" srcId="{499C74AF-7AEB-4AC0-B7DD-D5BE98A8635F}" destId="{D7EA0541-7A18-4832-8768-C7F38CA2CC97}" srcOrd="0" destOrd="0" presId="urn:microsoft.com/office/officeart/2005/8/layout/gear1"/>
    <dgm:cxn modelId="{B08FFE66-54C6-4387-B2A6-8DC158E77DE7}" type="presOf" srcId="{3A643577-68B6-45E6-9E91-1D766505BFCF}" destId="{11C727D0-F565-4A49-9DAC-98CF2A3F8278}" srcOrd="0" destOrd="0" presId="urn:microsoft.com/office/officeart/2005/8/layout/gear1"/>
    <dgm:cxn modelId="{522BE797-500A-41EB-B474-819BAD7B8B7D}" type="presOf" srcId="{B6E9AA58-30C2-4D23-8909-3AA2EA87D7A1}" destId="{0B2BBCBE-AD15-4E0D-996D-4FFA266AF78D}" srcOrd="1" destOrd="0" presId="urn:microsoft.com/office/officeart/2005/8/layout/gear1"/>
    <dgm:cxn modelId="{A208B0A5-4CCB-4837-9F20-00F6147E3FC0}" type="presOf" srcId="{92E441B6-F8C2-4CEC-9CA6-C9F860CE8F22}" destId="{38A95131-13AE-4693-8FB1-DB7FE901C682}" srcOrd="2" destOrd="0" presId="urn:microsoft.com/office/officeart/2005/8/layout/gear1"/>
    <dgm:cxn modelId="{3412CFCF-E320-41FA-A65C-B12401478390}" type="presOf" srcId="{082764FF-A1A0-4FF1-A635-1A1224304480}" destId="{A76DB17B-48E8-4033-8039-9788670AF133}" srcOrd="0" destOrd="0" presId="urn:microsoft.com/office/officeart/2005/8/layout/gear1"/>
    <dgm:cxn modelId="{DB7510D3-50B0-4884-A083-EF4AD32FF286}" type="presOf" srcId="{B6E9AA58-30C2-4D23-8909-3AA2EA87D7A1}" destId="{BA393417-8F86-4460-96D3-F09FCD76A481}" srcOrd="3" destOrd="0" presId="urn:microsoft.com/office/officeart/2005/8/layout/gear1"/>
    <dgm:cxn modelId="{B1BC7EE2-F0E8-42E1-92E7-67B95A015267}" type="presOf" srcId="{08E47A84-257F-4753-8CE3-B21EBA040248}" destId="{D31ED3A8-136D-40F1-8F95-7040F438D26E}" srcOrd="0" destOrd="0" presId="urn:microsoft.com/office/officeart/2005/8/layout/gear1"/>
    <dgm:cxn modelId="{076B5AE6-2F25-41C1-809E-44E3291C7FD9}" srcId="{499C74AF-7AEB-4AC0-B7DD-D5BE98A8635F}" destId="{B6E9AA58-30C2-4D23-8909-3AA2EA87D7A1}" srcOrd="2" destOrd="0" parTransId="{E5282884-0FCE-4C5F-82C6-B2CAD5DDFB76}" sibTransId="{082764FF-A1A0-4FF1-A635-1A1224304480}"/>
    <dgm:cxn modelId="{A66BA7E8-B7E8-4B57-A0B5-ABB5D5567525}" type="presOf" srcId="{92E441B6-F8C2-4CEC-9CA6-C9F860CE8F22}" destId="{0064D915-1F98-4D52-8251-CD6896905462}" srcOrd="0" destOrd="0" presId="urn:microsoft.com/office/officeart/2005/8/layout/gear1"/>
    <dgm:cxn modelId="{01879AF7-33B5-4FA0-BFC0-78FE9D430769}" srcId="{499C74AF-7AEB-4AC0-B7DD-D5BE98A8635F}" destId="{0DE10015-C1A9-4F78-BDB7-0C61A49C8E5D}" srcOrd="0" destOrd="0" parTransId="{2BA36FA9-333B-4E73-AD51-71E338677B4A}" sibTransId="{08E47A84-257F-4753-8CE3-B21EBA040248}"/>
    <dgm:cxn modelId="{802492FE-26F9-4C23-A5D2-9686D4D2459B}" srcId="{499C74AF-7AEB-4AC0-B7DD-D5BE98A8635F}" destId="{6E2C607F-C427-4357-BF9A-E82408A2B198}" srcOrd="3" destOrd="0" parTransId="{F1E68A7F-1E37-41B5-A57A-DED080C9CE50}" sibTransId="{5889E6B8-178E-4689-A224-6BF3BFB4E4BE}"/>
    <dgm:cxn modelId="{8B7D68F2-CB7F-4AF1-B50B-6C977433AE5B}" type="presParOf" srcId="{D7EA0541-7A18-4832-8768-C7F38CA2CC97}" destId="{789A6509-9736-4FD5-ABA2-F74850AED7CB}" srcOrd="0" destOrd="0" presId="urn:microsoft.com/office/officeart/2005/8/layout/gear1"/>
    <dgm:cxn modelId="{B4F07086-8F4C-476B-854D-377E4CFDE9A3}" type="presParOf" srcId="{D7EA0541-7A18-4832-8768-C7F38CA2CC97}" destId="{27D45B07-A7C7-4842-9012-C0703209812D}" srcOrd="1" destOrd="0" presId="urn:microsoft.com/office/officeart/2005/8/layout/gear1"/>
    <dgm:cxn modelId="{05E29656-7CFF-4FF5-B9B5-092FBCB23CD0}" type="presParOf" srcId="{D7EA0541-7A18-4832-8768-C7F38CA2CC97}" destId="{04B112EA-E6A1-4BC0-BB94-8657F53793BD}" srcOrd="2" destOrd="0" presId="urn:microsoft.com/office/officeart/2005/8/layout/gear1"/>
    <dgm:cxn modelId="{2DFF022D-ABCA-40ED-920F-0AB4D20132F0}" type="presParOf" srcId="{D7EA0541-7A18-4832-8768-C7F38CA2CC97}" destId="{0064D915-1F98-4D52-8251-CD6896905462}" srcOrd="3" destOrd="0" presId="urn:microsoft.com/office/officeart/2005/8/layout/gear1"/>
    <dgm:cxn modelId="{F74D1A80-2FD6-4740-BDB2-2D0A77725230}" type="presParOf" srcId="{D7EA0541-7A18-4832-8768-C7F38CA2CC97}" destId="{07D013D1-4A6B-487E-95B8-66EE5046D373}" srcOrd="4" destOrd="0" presId="urn:microsoft.com/office/officeart/2005/8/layout/gear1"/>
    <dgm:cxn modelId="{E3708CAC-CD2E-443F-97C4-186103969DA0}" type="presParOf" srcId="{D7EA0541-7A18-4832-8768-C7F38CA2CC97}" destId="{38A95131-13AE-4693-8FB1-DB7FE901C682}" srcOrd="5" destOrd="0" presId="urn:microsoft.com/office/officeart/2005/8/layout/gear1"/>
    <dgm:cxn modelId="{E208600A-9696-49CF-A47A-12A51DA52FD8}" type="presParOf" srcId="{D7EA0541-7A18-4832-8768-C7F38CA2CC97}" destId="{BB0A999C-9837-432D-8BDD-FE4F7457C9DF}" srcOrd="6" destOrd="0" presId="urn:microsoft.com/office/officeart/2005/8/layout/gear1"/>
    <dgm:cxn modelId="{BCC67F7B-CE5B-41F1-9CE3-38E402D096D1}" type="presParOf" srcId="{D7EA0541-7A18-4832-8768-C7F38CA2CC97}" destId="{0B2BBCBE-AD15-4E0D-996D-4FFA266AF78D}" srcOrd="7" destOrd="0" presId="urn:microsoft.com/office/officeart/2005/8/layout/gear1"/>
    <dgm:cxn modelId="{C9520595-FA59-446D-BD21-523355960FF2}" type="presParOf" srcId="{D7EA0541-7A18-4832-8768-C7F38CA2CC97}" destId="{38454A1E-E0AC-4153-8F8D-AFF8AC39CF6E}" srcOrd="8" destOrd="0" presId="urn:microsoft.com/office/officeart/2005/8/layout/gear1"/>
    <dgm:cxn modelId="{DA28590D-A17E-4CA9-B14A-4CAAFFE7522A}" type="presParOf" srcId="{D7EA0541-7A18-4832-8768-C7F38CA2CC97}" destId="{BA393417-8F86-4460-96D3-F09FCD76A481}" srcOrd="9" destOrd="0" presId="urn:microsoft.com/office/officeart/2005/8/layout/gear1"/>
    <dgm:cxn modelId="{D4CB0E45-2F80-4F47-9F51-01C57A38A0FE}" type="presParOf" srcId="{D7EA0541-7A18-4832-8768-C7F38CA2CC97}" destId="{D31ED3A8-136D-40F1-8F95-7040F438D26E}" srcOrd="10" destOrd="0" presId="urn:microsoft.com/office/officeart/2005/8/layout/gear1"/>
    <dgm:cxn modelId="{20DD6FFB-8C20-4BC4-9447-5A600AA0BA08}" type="presParOf" srcId="{D7EA0541-7A18-4832-8768-C7F38CA2CC97}" destId="{11C727D0-F565-4A49-9DAC-98CF2A3F8278}" srcOrd="11" destOrd="0" presId="urn:microsoft.com/office/officeart/2005/8/layout/gear1"/>
    <dgm:cxn modelId="{6B46629E-DA99-41F6-ABFE-AC88267F3139}" type="presParOf" srcId="{D7EA0541-7A18-4832-8768-C7F38CA2CC97}" destId="{A76DB17B-48E8-4033-8039-9788670AF133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80BE010-D560-45EF-9DCF-C3D3EDC1E944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D81CF831-6877-498E-9EBB-F9216D76AD82}">
      <dgm:prSet phldrT="[Text]" custT="1"/>
      <dgm:spPr/>
      <dgm:t>
        <a:bodyPr/>
        <a:lstStyle/>
        <a:p>
          <a:r>
            <a:rPr lang="en-US" sz="1400" dirty="0"/>
            <a:t>Enables Continuous Learning</a:t>
          </a:r>
        </a:p>
      </dgm:t>
    </dgm:pt>
    <dgm:pt modelId="{2108822D-2DE2-4B77-8E77-67258968555F}" type="parTrans" cxnId="{866BB436-A976-4546-B93B-44E3EA66AD00}">
      <dgm:prSet/>
      <dgm:spPr/>
      <dgm:t>
        <a:bodyPr/>
        <a:lstStyle/>
        <a:p>
          <a:endParaRPr lang="en-US" sz="400"/>
        </a:p>
      </dgm:t>
    </dgm:pt>
    <dgm:pt modelId="{9DB81206-F35B-41E4-9803-FD8E9184568D}" type="sibTrans" cxnId="{866BB436-A976-4546-B93B-44E3EA66AD00}">
      <dgm:prSet/>
      <dgm:spPr/>
      <dgm:t>
        <a:bodyPr/>
        <a:lstStyle/>
        <a:p>
          <a:endParaRPr lang="en-US" sz="400"/>
        </a:p>
      </dgm:t>
    </dgm:pt>
    <dgm:pt modelId="{638B4B29-3639-4500-9CCE-3788E9F3626C}">
      <dgm:prSet phldrT="[Text]" custT="1"/>
      <dgm:spPr/>
      <dgm:t>
        <a:bodyPr/>
        <a:lstStyle/>
        <a:p>
          <a:r>
            <a:rPr lang="en-US" sz="1400" dirty="0"/>
            <a:t>Develops Collaboration </a:t>
          </a:r>
        </a:p>
      </dgm:t>
    </dgm:pt>
    <dgm:pt modelId="{E6A30BD2-D969-4794-8813-EA1B96DA98DF}" type="parTrans" cxnId="{CEB05B79-A4A8-402C-8E14-ADF9E6A24C5D}">
      <dgm:prSet/>
      <dgm:spPr/>
      <dgm:t>
        <a:bodyPr/>
        <a:lstStyle/>
        <a:p>
          <a:endParaRPr lang="en-US" sz="400"/>
        </a:p>
      </dgm:t>
    </dgm:pt>
    <dgm:pt modelId="{A0BF0BAA-2CA6-4E6D-B448-50025B249354}" type="sibTrans" cxnId="{CEB05B79-A4A8-402C-8E14-ADF9E6A24C5D}">
      <dgm:prSet/>
      <dgm:spPr/>
      <dgm:t>
        <a:bodyPr/>
        <a:lstStyle/>
        <a:p>
          <a:endParaRPr lang="en-US" sz="400"/>
        </a:p>
      </dgm:t>
    </dgm:pt>
    <dgm:pt modelId="{9B60C276-034F-4EF5-B994-D142B93553AB}">
      <dgm:prSet phldrT="[Text]" custT="1"/>
      <dgm:spPr/>
      <dgm:t>
        <a:bodyPr/>
        <a:lstStyle/>
        <a:p>
          <a:r>
            <a:rPr lang="en-US" sz="1400" dirty="0"/>
            <a:t>Agile Learning</a:t>
          </a:r>
        </a:p>
      </dgm:t>
    </dgm:pt>
    <dgm:pt modelId="{26A4FEB6-5A91-45BB-AFA1-E20C059F07F2}" type="parTrans" cxnId="{F8285F62-70F5-4698-8E23-9F31B181BB79}">
      <dgm:prSet/>
      <dgm:spPr/>
      <dgm:t>
        <a:bodyPr/>
        <a:lstStyle/>
        <a:p>
          <a:endParaRPr lang="en-US" sz="400"/>
        </a:p>
      </dgm:t>
    </dgm:pt>
    <dgm:pt modelId="{C2020AF6-6241-4DC6-B742-41598001B227}" type="sibTrans" cxnId="{F8285F62-70F5-4698-8E23-9F31B181BB79}">
      <dgm:prSet/>
      <dgm:spPr/>
      <dgm:t>
        <a:bodyPr/>
        <a:lstStyle/>
        <a:p>
          <a:endParaRPr lang="en-US" sz="400"/>
        </a:p>
      </dgm:t>
    </dgm:pt>
    <dgm:pt modelId="{4E6C659C-FC12-4A97-88BF-F1C3F9D45E11}">
      <dgm:prSet phldrT="[Text]" custT="1"/>
      <dgm:spPr/>
      <dgm:t>
        <a:bodyPr/>
        <a:lstStyle/>
        <a:p>
          <a:r>
            <a:rPr lang="en-US" sz="1400" dirty="0"/>
            <a:t>Goal Oriented</a:t>
          </a:r>
        </a:p>
      </dgm:t>
    </dgm:pt>
    <dgm:pt modelId="{92B40602-BB6F-4553-938F-8713F75996AF}" type="parTrans" cxnId="{E2A3058A-9ACD-41BF-8616-E33C0DF38B44}">
      <dgm:prSet/>
      <dgm:spPr/>
      <dgm:t>
        <a:bodyPr/>
        <a:lstStyle/>
        <a:p>
          <a:endParaRPr lang="en-US" sz="1600"/>
        </a:p>
      </dgm:t>
    </dgm:pt>
    <dgm:pt modelId="{53B3E310-EA8D-4517-805A-9B80E3F0673A}" type="sibTrans" cxnId="{E2A3058A-9ACD-41BF-8616-E33C0DF38B44}">
      <dgm:prSet/>
      <dgm:spPr/>
      <dgm:t>
        <a:bodyPr/>
        <a:lstStyle/>
        <a:p>
          <a:endParaRPr lang="en-US" sz="1600"/>
        </a:p>
      </dgm:t>
    </dgm:pt>
    <dgm:pt modelId="{E9045EC2-C583-4CDB-8ED3-5031D66A6C81}">
      <dgm:prSet phldrT="[Text]" custT="1"/>
      <dgm:spPr/>
      <dgm:t>
        <a:bodyPr/>
        <a:lstStyle/>
        <a:p>
          <a:r>
            <a:rPr lang="en-US" sz="1400" dirty="0"/>
            <a:t>Assessment </a:t>
          </a:r>
        </a:p>
      </dgm:t>
    </dgm:pt>
    <dgm:pt modelId="{236EA851-E111-4448-AD5E-61A6B1FD87FD}" type="parTrans" cxnId="{739F63BC-B2C6-4886-915A-7FDE647EBA6A}">
      <dgm:prSet/>
      <dgm:spPr/>
      <dgm:t>
        <a:bodyPr/>
        <a:lstStyle/>
        <a:p>
          <a:endParaRPr lang="en-US" sz="1600"/>
        </a:p>
      </dgm:t>
    </dgm:pt>
    <dgm:pt modelId="{649370D3-69B9-48BB-9A02-BCFC9DD2E341}" type="sibTrans" cxnId="{739F63BC-B2C6-4886-915A-7FDE647EBA6A}">
      <dgm:prSet/>
      <dgm:spPr/>
      <dgm:t>
        <a:bodyPr/>
        <a:lstStyle/>
        <a:p>
          <a:endParaRPr lang="en-US" sz="1600"/>
        </a:p>
      </dgm:t>
    </dgm:pt>
    <dgm:pt modelId="{83C5DD51-9239-46E8-96A2-ABB4437DA4A4}" type="pres">
      <dgm:prSet presAssocID="{680BE010-D560-45EF-9DCF-C3D3EDC1E944}" presName="Name0" presStyleCnt="0">
        <dgm:presLayoutVars>
          <dgm:dir/>
        </dgm:presLayoutVars>
      </dgm:prSet>
      <dgm:spPr/>
    </dgm:pt>
    <dgm:pt modelId="{CF34E63D-26AD-4FE5-9CF9-2ECBFAC06801}" type="pres">
      <dgm:prSet presAssocID="{4E6C659C-FC12-4A97-88BF-F1C3F9D45E11}" presName="noChildren" presStyleCnt="0"/>
      <dgm:spPr/>
    </dgm:pt>
    <dgm:pt modelId="{21B20F16-E3CB-44D4-B845-F2423A450208}" type="pres">
      <dgm:prSet presAssocID="{4E6C659C-FC12-4A97-88BF-F1C3F9D45E11}" presName="gap" presStyleCnt="0"/>
      <dgm:spPr/>
    </dgm:pt>
    <dgm:pt modelId="{FFD35F2C-596E-4D36-9736-D78D433F6E9C}" type="pres">
      <dgm:prSet presAssocID="{4E6C659C-FC12-4A97-88BF-F1C3F9D45E11}" presName="medCircle2" presStyleLbl="vennNode1" presStyleIdx="0" presStyleCnt="5"/>
      <dgm:spPr/>
    </dgm:pt>
    <dgm:pt modelId="{40D255C5-6A5A-47CB-9B9B-F055E994625D}" type="pres">
      <dgm:prSet presAssocID="{4E6C659C-FC12-4A97-88BF-F1C3F9D45E11}" presName="txLvlOnly1" presStyleLbl="revTx" presStyleIdx="0" presStyleCnt="5"/>
      <dgm:spPr/>
    </dgm:pt>
    <dgm:pt modelId="{F7E7BC26-EDB0-4EE1-8144-A1BE2CF25A26}" type="pres">
      <dgm:prSet presAssocID="{D81CF831-6877-498E-9EBB-F9216D76AD82}" presName="noChildren" presStyleCnt="0"/>
      <dgm:spPr/>
    </dgm:pt>
    <dgm:pt modelId="{DDA96C65-1910-44E9-B312-835E531FD24D}" type="pres">
      <dgm:prSet presAssocID="{D81CF831-6877-498E-9EBB-F9216D76AD82}" presName="gap" presStyleCnt="0"/>
      <dgm:spPr/>
    </dgm:pt>
    <dgm:pt modelId="{8ACB5363-3E67-4DEE-9F73-03E5B8A2FF5F}" type="pres">
      <dgm:prSet presAssocID="{D81CF831-6877-498E-9EBB-F9216D76AD82}" presName="medCircle2" presStyleLbl="vennNode1" presStyleIdx="1" presStyleCnt="5"/>
      <dgm:spPr/>
    </dgm:pt>
    <dgm:pt modelId="{03D9EE1E-1084-45A0-ACEA-9BA0E5C25117}" type="pres">
      <dgm:prSet presAssocID="{D81CF831-6877-498E-9EBB-F9216D76AD82}" presName="txLvlOnly1" presStyleLbl="revTx" presStyleIdx="1" presStyleCnt="5"/>
      <dgm:spPr/>
    </dgm:pt>
    <dgm:pt modelId="{0981E903-2328-49D8-AC17-797626106D3C}" type="pres">
      <dgm:prSet presAssocID="{638B4B29-3639-4500-9CCE-3788E9F3626C}" presName="noChildren" presStyleCnt="0"/>
      <dgm:spPr/>
    </dgm:pt>
    <dgm:pt modelId="{E17F20C7-4410-4D77-BE16-B16C1C82A05E}" type="pres">
      <dgm:prSet presAssocID="{638B4B29-3639-4500-9CCE-3788E9F3626C}" presName="gap" presStyleCnt="0"/>
      <dgm:spPr/>
    </dgm:pt>
    <dgm:pt modelId="{183E182C-8CBF-45CC-B134-4AA730CA3B5F}" type="pres">
      <dgm:prSet presAssocID="{638B4B29-3639-4500-9CCE-3788E9F3626C}" presName="medCircle2" presStyleLbl="vennNode1" presStyleIdx="2" presStyleCnt="5"/>
      <dgm:spPr/>
    </dgm:pt>
    <dgm:pt modelId="{A37FDE87-5B6A-4D99-ADB1-71311946E6AF}" type="pres">
      <dgm:prSet presAssocID="{638B4B29-3639-4500-9CCE-3788E9F3626C}" presName="txLvlOnly1" presStyleLbl="revTx" presStyleIdx="2" presStyleCnt="5"/>
      <dgm:spPr/>
    </dgm:pt>
    <dgm:pt modelId="{8C805732-E064-4271-BC3F-B534AEA5505D}" type="pres">
      <dgm:prSet presAssocID="{9B60C276-034F-4EF5-B994-D142B93553AB}" presName="noChildren" presStyleCnt="0"/>
      <dgm:spPr/>
    </dgm:pt>
    <dgm:pt modelId="{2190F5CB-1F22-4D19-BC8F-F503A89AFB8D}" type="pres">
      <dgm:prSet presAssocID="{9B60C276-034F-4EF5-B994-D142B93553AB}" presName="gap" presStyleCnt="0"/>
      <dgm:spPr/>
    </dgm:pt>
    <dgm:pt modelId="{FE35B65A-0C52-49E2-97B9-191DA78609F2}" type="pres">
      <dgm:prSet presAssocID="{9B60C276-034F-4EF5-B994-D142B93553AB}" presName="medCircle2" presStyleLbl="vennNode1" presStyleIdx="3" presStyleCnt="5"/>
      <dgm:spPr/>
    </dgm:pt>
    <dgm:pt modelId="{192332AF-F4F0-44C4-A5DF-ACB537E4257D}" type="pres">
      <dgm:prSet presAssocID="{9B60C276-034F-4EF5-B994-D142B93553AB}" presName="txLvlOnly1" presStyleLbl="revTx" presStyleIdx="3" presStyleCnt="5"/>
      <dgm:spPr/>
    </dgm:pt>
    <dgm:pt modelId="{84BBBF94-999A-477B-96EA-B1CFA133B611}" type="pres">
      <dgm:prSet presAssocID="{E9045EC2-C583-4CDB-8ED3-5031D66A6C81}" presName="noChildren" presStyleCnt="0"/>
      <dgm:spPr/>
    </dgm:pt>
    <dgm:pt modelId="{642EC8D5-AD8A-4764-BE35-BA4F8A940337}" type="pres">
      <dgm:prSet presAssocID="{E9045EC2-C583-4CDB-8ED3-5031D66A6C81}" presName="gap" presStyleCnt="0"/>
      <dgm:spPr/>
    </dgm:pt>
    <dgm:pt modelId="{4A017328-5176-4263-8A6D-8C5816A3FD7F}" type="pres">
      <dgm:prSet presAssocID="{E9045EC2-C583-4CDB-8ED3-5031D66A6C81}" presName="medCircle2" presStyleLbl="vennNode1" presStyleIdx="4" presStyleCnt="5"/>
      <dgm:spPr/>
    </dgm:pt>
    <dgm:pt modelId="{49144B48-04C7-4616-BEE6-700C629CD1B8}" type="pres">
      <dgm:prSet presAssocID="{E9045EC2-C583-4CDB-8ED3-5031D66A6C81}" presName="txLvlOnly1" presStyleLbl="revTx" presStyleIdx="4" presStyleCnt="5"/>
      <dgm:spPr/>
    </dgm:pt>
  </dgm:ptLst>
  <dgm:cxnLst>
    <dgm:cxn modelId="{B64B1803-F611-475F-80C4-C2981B1E7E74}" type="presOf" srcId="{680BE010-D560-45EF-9DCF-C3D3EDC1E944}" destId="{83C5DD51-9239-46E8-96A2-ABB4437DA4A4}" srcOrd="0" destOrd="0" presId="urn:microsoft.com/office/officeart/2008/layout/VerticalCircleList"/>
    <dgm:cxn modelId="{C56A9F04-89DE-45D2-A333-6A9A90D3F7FC}" type="presOf" srcId="{9B60C276-034F-4EF5-B994-D142B93553AB}" destId="{192332AF-F4F0-44C4-A5DF-ACB537E4257D}" srcOrd="0" destOrd="0" presId="urn:microsoft.com/office/officeart/2008/layout/VerticalCircleList"/>
    <dgm:cxn modelId="{DB8DC904-0A14-448C-905C-6E42E27E6FEA}" type="presOf" srcId="{E9045EC2-C583-4CDB-8ED3-5031D66A6C81}" destId="{49144B48-04C7-4616-BEE6-700C629CD1B8}" srcOrd="0" destOrd="0" presId="urn:microsoft.com/office/officeart/2008/layout/VerticalCircleList"/>
    <dgm:cxn modelId="{866BB436-A976-4546-B93B-44E3EA66AD00}" srcId="{680BE010-D560-45EF-9DCF-C3D3EDC1E944}" destId="{D81CF831-6877-498E-9EBB-F9216D76AD82}" srcOrd="1" destOrd="0" parTransId="{2108822D-2DE2-4B77-8E77-67258968555F}" sibTransId="{9DB81206-F35B-41E4-9803-FD8E9184568D}"/>
    <dgm:cxn modelId="{20537938-89B9-410E-87D4-04EFB58C8B44}" type="presOf" srcId="{D81CF831-6877-498E-9EBB-F9216D76AD82}" destId="{03D9EE1E-1084-45A0-ACEA-9BA0E5C25117}" srcOrd="0" destOrd="0" presId="urn:microsoft.com/office/officeart/2008/layout/VerticalCircleList"/>
    <dgm:cxn modelId="{FDB3F85D-82D0-45C4-BD2D-61BDCF309380}" type="presOf" srcId="{638B4B29-3639-4500-9CCE-3788E9F3626C}" destId="{A37FDE87-5B6A-4D99-ADB1-71311946E6AF}" srcOrd="0" destOrd="0" presId="urn:microsoft.com/office/officeart/2008/layout/VerticalCircleList"/>
    <dgm:cxn modelId="{F8285F62-70F5-4698-8E23-9F31B181BB79}" srcId="{680BE010-D560-45EF-9DCF-C3D3EDC1E944}" destId="{9B60C276-034F-4EF5-B994-D142B93553AB}" srcOrd="3" destOrd="0" parTransId="{26A4FEB6-5A91-45BB-AFA1-E20C059F07F2}" sibTransId="{C2020AF6-6241-4DC6-B742-41598001B227}"/>
    <dgm:cxn modelId="{CEB05B79-A4A8-402C-8E14-ADF9E6A24C5D}" srcId="{680BE010-D560-45EF-9DCF-C3D3EDC1E944}" destId="{638B4B29-3639-4500-9CCE-3788E9F3626C}" srcOrd="2" destOrd="0" parTransId="{E6A30BD2-D969-4794-8813-EA1B96DA98DF}" sibTransId="{A0BF0BAA-2CA6-4E6D-B448-50025B249354}"/>
    <dgm:cxn modelId="{E2A3058A-9ACD-41BF-8616-E33C0DF38B44}" srcId="{680BE010-D560-45EF-9DCF-C3D3EDC1E944}" destId="{4E6C659C-FC12-4A97-88BF-F1C3F9D45E11}" srcOrd="0" destOrd="0" parTransId="{92B40602-BB6F-4553-938F-8713F75996AF}" sibTransId="{53B3E310-EA8D-4517-805A-9B80E3F0673A}"/>
    <dgm:cxn modelId="{739F63BC-B2C6-4886-915A-7FDE647EBA6A}" srcId="{680BE010-D560-45EF-9DCF-C3D3EDC1E944}" destId="{E9045EC2-C583-4CDB-8ED3-5031D66A6C81}" srcOrd="4" destOrd="0" parTransId="{236EA851-E111-4448-AD5E-61A6B1FD87FD}" sibTransId="{649370D3-69B9-48BB-9A02-BCFC9DD2E341}"/>
    <dgm:cxn modelId="{4A97AAE1-60AA-44F6-BB65-068F79138792}" type="presOf" srcId="{4E6C659C-FC12-4A97-88BF-F1C3F9D45E11}" destId="{40D255C5-6A5A-47CB-9B9B-F055E994625D}" srcOrd="0" destOrd="0" presId="urn:microsoft.com/office/officeart/2008/layout/VerticalCircleList"/>
    <dgm:cxn modelId="{3249737F-6109-4A0F-8E05-0C15EBEC28B1}" type="presParOf" srcId="{83C5DD51-9239-46E8-96A2-ABB4437DA4A4}" destId="{CF34E63D-26AD-4FE5-9CF9-2ECBFAC06801}" srcOrd="0" destOrd="0" presId="urn:microsoft.com/office/officeart/2008/layout/VerticalCircleList"/>
    <dgm:cxn modelId="{B680416B-4832-4B34-873E-41D85C7CB55C}" type="presParOf" srcId="{CF34E63D-26AD-4FE5-9CF9-2ECBFAC06801}" destId="{21B20F16-E3CB-44D4-B845-F2423A450208}" srcOrd="0" destOrd="0" presId="urn:microsoft.com/office/officeart/2008/layout/VerticalCircleList"/>
    <dgm:cxn modelId="{07FF443E-095E-4C31-8DDB-4FE14AC4E8F0}" type="presParOf" srcId="{CF34E63D-26AD-4FE5-9CF9-2ECBFAC06801}" destId="{FFD35F2C-596E-4D36-9736-D78D433F6E9C}" srcOrd="1" destOrd="0" presId="urn:microsoft.com/office/officeart/2008/layout/VerticalCircleList"/>
    <dgm:cxn modelId="{00ECD608-9AD0-4EA4-895E-04625F9A5FF4}" type="presParOf" srcId="{CF34E63D-26AD-4FE5-9CF9-2ECBFAC06801}" destId="{40D255C5-6A5A-47CB-9B9B-F055E994625D}" srcOrd="2" destOrd="0" presId="urn:microsoft.com/office/officeart/2008/layout/VerticalCircleList"/>
    <dgm:cxn modelId="{7BCCB2FB-3C16-4D32-A5A0-6960AD819104}" type="presParOf" srcId="{83C5DD51-9239-46E8-96A2-ABB4437DA4A4}" destId="{F7E7BC26-EDB0-4EE1-8144-A1BE2CF25A26}" srcOrd="1" destOrd="0" presId="urn:microsoft.com/office/officeart/2008/layout/VerticalCircleList"/>
    <dgm:cxn modelId="{6992B5C6-CF5E-4722-9A70-8A5EF88E5C13}" type="presParOf" srcId="{F7E7BC26-EDB0-4EE1-8144-A1BE2CF25A26}" destId="{DDA96C65-1910-44E9-B312-835E531FD24D}" srcOrd="0" destOrd="0" presId="urn:microsoft.com/office/officeart/2008/layout/VerticalCircleList"/>
    <dgm:cxn modelId="{43DD32FD-FB41-464F-9DE9-741D7F824CCD}" type="presParOf" srcId="{F7E7BC26-EDB0-4EE1-8144-A1BE2CF25A26}" destId="{8ACB5363-3E67-4DEE-9F73-03E5B8A2FF5F}" srcOrd="1" destOrd="0" presId="urn:microsoft.com/office/officeart/2008/layout/VerticalCircleList"/>
    <dgm:cxn modelId="{19682C5B-EE3B-4EEE-A935-F18ED22F8851}" type="presParOf" srcId="{F7E7BC26-EDB0-4EE1-8144-A1BE2CF25A26}" destId="{03D9EE1E-1084-45A0-ACEA-9BA0E5C25117}" srcOrd="2" destOrd="0" presId="urn:microsoft.com/office/officeart/2008/layout/VerticalCircleList"/>
    <dgm:cxn modelId="{6FD2677F-9DA3-4294-9FFF-91A284D49981}" type="presParOf" srcId="{83C5DD51-9239-46E8-96A2-ABB4437DA4A4}" destId="{0981E903-2328-49D8-AC17-797626106D3C}" srcOrd="2" destOrd="0" presId="urn:microsoft.com/office/officeart/2008/layout/VerticalCircleList"/>
    <dgm:cxn modelId="{838D8EC8-237B-4CCF-8EAA-B5ECC3057172}" type="presParOf" srcId="{0981E903-2328-49D8-AC17-797626106D3C}" destId="{E17F20C7-4410-4D77-BE16-B16C1C82A05E}" srcOrd="0" destOrd="0" presId="urn:microsoft.com/office/officeart/2008/layout/VerticalCircleList"/>
    <dgm:cxn modelId="{E6189D04-FFEC-4433-A13D-F99E3E93E76B}" type="presParOf" srcId="{0981E903-2328-49D8-AC17-797626106D3C}" destId="{183E182C-8CBF-45CC-B134-4AA730CA3B5F}" srcOrd="1" destOrd="0" presId="urn:microsoft.com/office/officeart/2008/layout/VerticalCircleList"/>
    <dgm:cxn modelId="{E685D330-86EA-4B8B-8F68-EA677F893F44}" type="presParOf" srcId="{0981E903-2328-49D8-AC17-797626106D3C}" destId="{A37FDE87-5B6A-4D99-ADB1-71311946E6AF}" srcOrd="2" destOrd="0" presId="urn:microsoft.com/office/officeart/2008/layout/VerticalCircleList"/>
    <dgm:cxn modelId="{CFEF6902-3E6C-4AE0-9346-6841792ED369}" type="presParOf" srcId="{83C5DD51-9239-46E8-96A2-ABB4437DA4A4}" destId="{8C805732-E064-4271-BC3F-B534AEA5505D}" srcOrd="3" destOrd="0" presId="urn:microsoft.com/office/officeart/2008/layout/VerticalCircleList"/>
    <dgm:cxn modelId="{0496B695-9E68-4D6A-B018-3DF211BBC70B}" type="presParOf" srcId="{8C805732-E064-4271-BC3F-B534AEA5505D}" destId="{2190F5CB-1F22-4D19-BC8F-F503A89AFB8D}" srcOrd="0" destOrd="0" presId="urn:microsoft.com/office/officeart/2008/layout/VerticalCircleList"/>
    <dgm:cxn modelId="{90D62933-0CBE-41EF-A60F-2F6207CDE530}" type="presParOf" srcId="{8C805732-E064-4271-BC3F-B534AEA5505D}" destId="{FE35B65A-0C52-49E2-97B9-191DA78609F2}" srcOrd="1" destOrd="0" presId="urn:microsoft.com/office/officeart/2008/layout/VerticalCircleList"/>
    <dgm:cxn modelId="{C8B08261-DD26-46C0-A04E-C80A7B7FC5D7}" type="presParOf" srcId="{8C805732-E064-4271-BC3F-B534AEA5505D}" destId="{192332AF-F4F0-44C4-A5DF-ACB537E4257D}" srcOrd="2" destOrd="0" presId="urn:microsoft.com/office/officeart/2008/layout/VerticalCircleList"/>
    <dgm:cxn modelId="{7290081F-A347-4A6E-BC1F-D0450E67EE52}" type="presParOf" srcId="{83C5DD51-9239-46E8-96A2-ABB4437DA4A4}" destId="{84BBBF94-999A-477B-96EA-B1CFA133B611}" srcOrd="4" destOrd="0" presId="urn:microsoft.com/office/officeart/2008/layout/VerticalCircleList"/>
    <dgm:cxn modelId="{17EEA318-B647-4E93-B5C3-0DD591215885}" type="presParOf" srcId="{84BBBF94-999A-477B-96EA-B1CFA133B611}" destId="{642EC8D5-AD8A-4764-BE35-BA4F8A940337}" srcOrd="0" destOrd="0" presId="urn:microsoft.com/office/officeart/2008/layout/VerticalCircleList"/>
    <dgm:cxn modelId="{BF05D8CC-EEF3-4E18-A03D-60F62F928ACB}" type="presParOf" srcId="{84BBBF94-999A-477B-96EA-B1CFA133B611}" destId="{4A017328-5176-4263-8A6D-8C5816A3FD7F}" srcOrd="1" destOrd="0" presId="urn:microsoft.com/office/officeart/2008/layout/VerticalCircleList"/>
    <dgm:cxn modelId="{56893DF0-1F0C-4B63-880F-00FB290B3833}" type="presParOf" srcId="{84BBBF94-999A-477B-96EA-B1CFA133B611}" destId="{49144B48-04C7-4616-BEE6-700C629CD1B8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2077F5F-D706-4A87-A0A9-3F3A536798C7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26AFD6D-2E97-4B95-A4B0-BE5D257D10E5}">
      <dgm:prSet phldrT="[Text]" custT="1"/>
      <dgm:spPr/>
      <dgm:t>
        <a:bodyPr/>
        <a:lstStyle/>
        <a:p>
          <a:r>
            <a:rPr lang="en-US" sz="1100" b="1" dirty="0"/>
            <a:t>Step 1: Workforce Skills Assessment</a:t>
          </a:r>
        </a:p>
      </dgm:t>
    </dgm:pt>
    <dgm:pt modelId="{3F5FA92D-F93C-4A3C-B7AD-58489AEE67C1}" type="parTrans" cxnId="{0542B7C8-FD61-4B89-B18F-1730CA561949}">
      <dgm:prSet/>
      <dgm:spPr/>
      <dgm:t>
        <a:bodyPr/>
        <a:lstStyle/>
        <a:p>
          <a:endParaRPr lang="en-US" sz="1400"/>
        </a:p>
      </dgm:t>
    </dgm:pt>
    <dgm:pt modelId="{401A048F-5F14-499B-B455-7139F3AF1847}" type="sibTrans" cxnId="{0542B7C8-FD61-4B89-B18F-1730CA561949}">
      <dgm:prSet/>
      <dgm:spPr/>
      <dgm:t>
        <a:bodyPr/>
        <a:lstStyle/>
        <a:p>
          <a:endParaRPr lang="en-US" sz="1400"/>
        </a:p>
      </dgm:t>
    </dgm:pt>
    <dgm:pt modelId="{FC012518-E0E3-41C2-A2CD-0421EC851CF2}">
      <dgm:prSet phldrT="[Text]" custT="1"/>
      <dgm:spPr/>
      <dgm:t>
        <a:bodyPr/>
        <a:lstStyle/>
        <a:p>
          <a:r>
            <a:rPr lang="en-US" sz="1400" b="1"/>
            <a:t>How many Employees</a:t>
          </a:r>
        </a:p>
      </dgm:t>
    </dgm:pt>
    <dgm:pt modelId="{09C5B46E-9CF0-40B1-A91E-3347B337A55E}" type="parTrans" cxnId="{30AE9FC5-9EBE-41C0-9C0B-A172F4A1BA31}">
      <dgm:prSet/>
      <dgm:spPr/>
      <dgm:t>
        <a:bodyPr/>
        <a:lstStyle/>
        <a:p>
          <a:endParaRPr lang="en-US" sz="1400"/>
        </a:p>
      </dgm:t>
    </dgm:pt>
    <dgm:pt modelId="{66BA4E1D-93E6-4F97-A38D-049B813E6C75}" type="sibTrans" cxnId="{30AE9FC5-9EBE-41C0-9C0B-A172F4A1BA31}">
      <dgm:prSet/>
      <dgm:spPr/>
      <dgm:t>
        <a:bodyPr/>
        <a:lstStyle/>
        <a:p>
          <a:endParaRPr lang="en-US" sz="1400"/>
        </a:p>
      </dgm:t>
    </dgm:pt>
    <dgm:pt modelId="{F6281701-C9AB-4626-9BF3-79B96984EE61}">
      <dgm:prSet phldrT="[Text]" custT="1"/>
      <dgm:spPr/>
      <dgm:t>
        <a:bodyPr/>
        <a:lstStyle/>
        <a:p>
          <a:r>
            <a:rPr lang="en-US" sz="1400" b="1"/>
            <a:t>Current Skill Level</a:t>
          </a:r>
        </a:p>
      </dgm:t>
    </dgm:pt>
    <dgm:pt modelId="{E51FF112-A247-4D07-8E6C-4BC05F9E11D3}" type="parTrans" cxnId="{E1328842-A0DA-4BDD-9A5B-51FCE6E375A6}">
      <dgm:prSet/>
      <dgm:spPr/>
      <dgm:t>
        <a:bodyPr/>
        <a:lstStyle/>
        <a:p>
          <a:endParaRPr lang="en-US" sz="1400"/>
        </a:p>
      </dgm:t>
    </dgm:pt>
    <dgm:pt modelId="{FFBF0987-E15B-4BC0-8A84-E54724BAE900}" type="sibTrans" cxnId="{E1328842-A0DA-4BDD-9A5B-51FCE6E375A6}">
      <dgm:prSet/>
      <dgm:spPr/>
      <dgm:t>
        <a:bodyPr/>
        <a:lstStyle/>
        <a:p>
          <a:endParaRPr lang="en-US" sz="1400"/>
        </a:p>
      </dgm:t>
    </dgm:pt>
    <dgm:pt modelId="{40F0211C-CA54-4920-BF0D-FE4D7D739BBC}">
      <dgm:prSet phldrT="[Text]" custT="1"/>
      <dgm:spPr/>
      <dgm:t>
        <a:bodyPr/>
        <a:lstStyle/>
        <a:p>
          <a:r>
            <a:rPr lang="en-US" sz="1100" b="1"/>
            <a:t>Step 2: Improve and Measure</a:t>
          </a:r>
        </a:p>
      </dgm:t>
    </dgm:pt>
    <dgm:pt modelId="{A62E06DB-8405-495B-9BB4-5D98B874F256}" type="parTrans" cxnId="{5C969E5A-FC84-4EBD-AB8C-15B5F818CB69}">
      <dgm:prSet/>
      <dgm:spPr/>
      <dgm:t>
        <a:bodyPr/>
        <a:lstStyle/>
        <a:p>
          <a:endParaRPr lang="en-US" sz="1400"/>
        </a:p>
      </dgm:t>
    </dgm:pt>
    <dgm:pt modelId="{21979E27-F063-4F75-A8B9-A254E5A7E0FF}" type="sibTrans" cxnId="{5C969E5A-FC84-4EBD-AB8C-15B5F818CB69}">
      <dgm:prSet/>
      <dgm:spPr/>
      <dgm:t>
        <a:bodyPr/>
        <a:lstStyle/>
        <a:p>
          <a:endParaRPr lang="en-US" sz="1400"/>
        </a:p>
      </dgm:t>
    </dgm:pt>
    <dgm:pt modelId="{42EE6E3D-7BFD-43A9-99BC-530D0EE2CA28}">
      <dgm:prSet phldrT="[Text]" custT="1"/>
      <dgm:spPr/>
      <dgm:t>
        <a:bodyPr/>
        <a:lstStyle/>
        <a:p>
          <a:r>
            <a:rPr lang="en-US" sz="1400" b="1"/>
            <a:t>Train and Certify Employees</a:t>
          </a:r>
        </a:p>
      </dgm:t>
    </dgm:pt>
    <dgm:pt modelId="{A82973A8-B5C2-44D3-B7DB-F2D15B19970C}" type="parTrans" cxnId="{6877AB52-BD89-4F01-AB80-4D1E24CF5F3C}">
      <dgm:prSet/>
      <dgm:spPr/>
      <dgm:t>
        <a:bodyPr/>
        <a:lstStyle/>
        <a:p>
          <a:endParaRPr lang="en-US" sz="1400"/>
        </a:p>
      </dgm:t>
    </dgm:pt>
    <dgm:pt modelId="{7BF85CFC-82BC-40B9-824A-5204D937805D}" type="sibTrans" cxnId="{6877AB52-BD89-4F01-AB80-4D1E24CF5F3C}">
      <dgm:prSet/>
      <dgm:spPr/>
      <dgm:t>
        <a:bodyPr/>
        <a:lstStyle/>
        <a:p>
          <a:endParaRPr lang="en-US" sz="1400"/>
        </a:p>
      </dgm:t>
    </dgm:pt>
    <dgm:pt modelId="{6C370B62-4C6C-4ACE-943A-BF64D625C211}">
      <dgm:prSet phldrT="[Text]" custT="1"/>
      <dgm:spPr/>
      <dgm:t>
        <a:bodyPr/>
        <a:lstStyle/>
        <a:p>
          <a:r>
            <a:rPr lang="en-US" sz="1100" b="1"/>
            <a:t>Step 3: Post Training Support</a:t>
          </a:r>
        </a:p>
      </dgm:t>
    </dgm:pt>
    <dgm:pt modelId="{4395C698-9E53-4765-BAD0-5E0C5489C85A}" type="parTrans" cxnId="{F8AD833A-1BC1-4AB2-978B-CCAD873F29FB}">
      <dgm:prSet/>
      <dgm:spPr/>
      <dgm:t>
        <a:bodyPr/>
        <a:lstStyle/>
        <a:p>
          <a:endParaRPr lang="en-US" sz="1400"/>
        </a:p>
      </dgm:t>
    </dgm:pt>
    <dgm:pt modelId="{1075796A-BEC2-4C1B-A70B-A006C72D913E}" type="sibTrans" cxnId="{F8AD833A-1BC1-4AB2-978B-CCAD873F29FB}">
      <dgm:prSet/>
      <dgm:spPr/>
      <dgm:t>
        <a:bodyPr/>
        <a:lstStyle/>
        <a:p>
          <a:endParaRPr lang="en-US" sz="1400"/>
        </a:p>
      </dgm:t>
    </dgm:pt>
    <dgm:pt modelId="{4CE25A98-E044-4BCD-AFE7-7F493551B032}">
      <dgm:prSet phldrT="[Text]" custT="1"/>
      <dgm:spPr/>
      <dgm:t>
        <a:bodyPr/>
        <a:lstStyle/>
        <a:p>
          <a:r>
            <a:rPr lang="en-US" sz="1400" b="1"/>
            <a:t>Access to Trainers &amp; FSEs</a:t>
          </a:r>
        </a:p>
      </dgm:t>
    </dgm:pt>
    <dgm:pt modelId="{41888EAA-DEA0-4C62-BF9C-F633ABCC521F}" type="parTrans" cxnId="{694B471F-1D7A-41A2-BD54-FCCEB13BC79D}">
      <dgm:prSet/>
      <dgm:spPr/>
      <dgm:t>
        <a:bodyPr/>
        <a:lstStyle/>
        <a:p>
          <a:endParaRPr lang="en-US" sz="1400"/>
        </a:p>
      </dgm:t>
    </dgm:pt>
    <dgm:pt modelId="{8C5CA0BF-8AC4-4034-B793-267EA39A1943}" type="sibTrans" cxnId="{694B471F-1D7A-41A2-BD54-FCCEB13BC79D}">
      <dgm:prSet/>
      <dgm:spPr/>
      <dgm:t>
        <a:bodyPr/>
        <a:lstStyle/>
        <a:p>
          <a:endParaRPr lang="en-US" sz="1400"/>
        </a:p>
      </dgm:t>
    </dgm:pt>
    <dgm:pt modelId="{09539BFE-1FC5-4106-B60D-6967B11BC48A}">
      <dgm:prSet phldrT="[Text]" custT="1"/>
      <dgm:spPr/>
      <dgm:t>
        <a:bodyPr/>
        <a:lstStyle/>
        <a:p>
          <a:r>
            <a:rPr lang="en-US" sz="1400" b="1"/>
            <a:t>Update Competency Matrix</a:t>
          </a:r>
        </a:p>
      </dgm:t>
    </dgm:pt>
    <dgm:pt modelId="{11F59DFF-22F0-4DD6-8F86-93784B2E1B97}" type="parTrans" cxnId="{D105DF1B-EFD9-4E09-B725-59BEE1E3196C}">
      <dgm:prSet/>
      <dgm:spPr/>
      <dgm:t>
        <a:bodyPr/>
        <a:lstStyle/>
        <a:p>
          <a:endParaRPr lang="en-US" sz="1400"/>
        </a:p>
      </dgm:t>
    </dgm:pt>
    <dgm:pt modelId="{ACD22B17-1D57-4A73-B647-202BEBA87D8D}" type="sibTrans" cxnId="{D105DF1B-EFD9-4E09-B725-59BEE1E3196C}">
      <dgm:prSet/>
      <dgm:spPr/>
      <dgm:t>
        <a:bodyPr/>
        <a:lstStyle/>
        <a:p>
          <a:endParaRPr lang="en-US" sz="1400"/>
        </a:p>
      </dgm:t>
    </dgm:pt>
    <dgm:pt modelId="{B1D6E0D5-05B0-49E2-AC92-BC4FE628AB9C}">
      <dgm:prSet phldrT="[Text]" custT="1"/>
      <dgm:spPr/>
      <dgm:t>
        <a:bodyPr/>
        <a:lstStyle/>
        <a:p>
          <a:r>
            <a:rPr lang="en-US" sz="1400" b="1"/>
            <a:t>Desired KPIs</a:t>
          </a:r>
        </a:p>
      </dgm:t>
    </dgm:pt>
    <dgm:pt modelId="{A1D6CDD7-C713-49CA-989C-1422314C52FD}" type="parTrans" cxnId="{B89550B4-7280-4EBF-B383-601696AF440A}">
      <dgm:prSet/>
      <dgm:spPr/>
      <dgm:t>
        <a:bodyPr/>
        <a:lstStyle/>
        <a:p>
          <a:endParaRPr lang="en-US" sz="1400"/>
        </a:p>
      </dgm:t>
    </dgm:pt>
    <dgm:pt modelId="{59F62440-B005-45EA-B818-7FAE5C0EC3C1}" type="sibTrans" cxnId="{B89550B4-7280-4EBF-B383-601696AF440A}">
      <dgm:prSet/>
      <dgm:spPr/>
      <dgm:t>
        <a:bodyPr/>
        <a:lstStyle/>
        <a:p>
          <a:endParaRPr lang="en-US" sz="1400"/>
        </a:p>
      </dgm:t>
    </dgm:pt>
    <dgm:pt modelId="{0153FD64-5B87-4141-92E3-0EE3A7DD3F30}">
      <dgm:prSet phldrT="[Text]" custT="1"/>
      <dgm:spPr/>
      <dgm:t>
        <a:bodyPr/>
        <a:lstStyle/>
        <a:p>
          <a:r>
            <a:rPr lang="en-US" sz="1400" b="1"/>
            <a:t>Assess effectiveness </a:t>
          </a:r>
        </a:p>
      </dgm:t>
    </dgm:pt>
    <dgm:pt modelId="{39AA0500-C0ED-414C-9214-1F40F70AB765}" type="parTrans" cxnId="{C82491E5-369B-4530-AC61-F6CDC466215E}">
      <dgm:prSet/>
      <dgm:spPr/>
      <dgm:t>
        <a:bodyPr/>
        <a:lstStyle/>
        <a:p>
          <a:endParaRPr lang="en-US" sz="1400"/>
        </a:p>
      </dgm:t>
    </dgm:pt>
    <dgm:pt modelId="{5328D1B1-478D-43E9-AF61-0C6A5F320F2F}" type="sibTrans" cxnId="{C82491E5-369B-4530-AC61-F6CDC466215E}">
      <dgm:prSet/>
      <dgm:spPr/>
      <dgm:t>
        <a:bodyPr/>
        <a:lstStyle/>
        <a:p>
          <a:endParaRPr lang="en-US" sz="1400"/>
        </a:p>
      </dgm:t>
    </dgm:pt>
    <dgm:pt modelId="{CDBD9C66-1186-4D8C-A2DC-5621B9F2B110}" type="pres">
      <dgm:prSet presAssocID="{12077F5F-D706-4A87-A0A9-3F3A536798C7}" presName="Name0" presStyleCnt="0">
        <dgm:presLayoutVars>
          <dgm:dir/>
          <dgm:animLvl val="lvl"/>
          <dgm:resizeHandles val="exact"/>
        </dgm:presLayoutVars>
      </dgm:prSet>
      <dgm:spPr/>
    </dgm:pt>
    <dgm:pt modelId="{91B95892-8CB2-4F3D-A803-ECFE06FABEEF}" type="pres">
      <dgm:prSet presAssocID="{12077F5F-D706-4A87-A0A9-3F3A536798C7}" presName="tSp" presStyleCnt="0"/>
      <dgm:spPr/>
    </dgm:pt>
    <dgm:pt modelId="{70D3760B-4D23-4564-8F19-654EBA981EFB}" type="pres">
      <dgm:prSet presAssocID="{12077F5F-D706-4A87-A0A9-3F3A536798C7}" presName="bSp" presStyleCnt="0"/>
      <dgm:spPr/>
    </dgm:pt>
    <dgm:pt modelId="{2AB21575-72C0-46F0-8B4D-BEE43667B3CF}" type="pres">
      <dgm:prSet presAssocID="{12077F5F-D706-4A87-A0A9-3F3A536798C7}" presName="process" presStyleCnt="0"/>
      <dgm:spPr/>
    </dgm:pt>
    <dgm:pt modelId="{184E0433-0D89-40F5-8CD1-52763B6E939C}" type="pres">
      <dgm:prSet presAssocID="{A26AFD6D-2E97-4B95-A4B0-BE5D257D10E5}" presName="composite1" presStyleCnt="0"/>
      <dgm:spPr/>
    </dgm:pt>
    <dgm:pt modelId="{2AC7E7B4-10F0-480E-9AB8-FD4196285820}" type="pres">
      <dgm:prSet presAssocID="{A26AFD6D-2E97-4B95-A4B0-BE5D257D10E5}" presName="dummyNode1" presStyleLbl="node1" presStyleIdx="0" presStyleCnt="3"/>
      <dgm:spPr/>
    </dgm:pt>
    <dgm:pt modelId="{6F1E6411-3814-4553-8672-C6A58FD14EA2}" type="pres">
      <dgm:prSet presAssocID="{A26AFD6D-2E97-4B95-A4B0-BE5D257D10E5}" presName="childNode1" presStyleLbl="bgAcc1" presStyleIdx="0" presStyleCnt="3">
        <dgm:presLayoutVars>
          <dgm:bulletEnabled val="1"/>
        </dgm:presLayoutVars>
      </dgm:prSet>
      <dgm:spPr/>
    </dgm:pt>
    <dgm:pt modelId="{55465B76-CF25-4DB0-91EE-EA5D175E71B5}" type="pres">
      <dgm:prSet presAssocID="{A26AFD6D-2E97-4B95-A4B0-BE5D257D10E5}" presName="childNode1tx" presStyleLbl="bgAcc1" presStyleIdx="0" presStyleCnt="3">
        <dgm:presLayoutVars>
          <dgm:bulletEnabled val="1"/>
        </dgm:presLayoutVars>
      </dgm:prSet>
      <dgm:spPr/>
    </dgm:pt>
    <dgm:pt modelId="{3B2AC8ED-68BC-4930-9E9C-FBB655552462}" type="pres">
      <dgm:prSet presAssocID="{A26AFD6D-2E97-4B95-A4B0-BE5D257D10E5}" presName="parentNode1" presStyleLbl="node1" presStyleIdx="0" presStyleCnt="3">
        <dgm:presLayoutVars>
          <dgm:chMax val="1"/>
          <dgm:bulletEnabled val="1"/>
        </dgm:presLayoutVars>
      </dgm:prSet>
      <dgm:spPr/>
    </dgm:pt>
    <dgm:pt modelId="{E2DBE664-055A-4BE8-AE88-79CDB3296897}" type="pres">
      <dgm:prSet presAssocID="{A26AFD6D-2E97-4B95-A4B0-BE5D257D10E5}" presName="connSite1" presStyleCnt="0"/>
      <dgm:spPr/>
    </dgm:pt>
    <dgm:pt modelId="{718B8DA8-CB83-44CF-A33C-16FD4E528EE0}" type="pres">
      <dgm:prSet presAssocID="{401A048F-5F14-499B-B455-7139F3AF1847}" presName="Name9" presStyleLbl="sibTrans2D1" presStyleIdx="0" presStyleCnt="2"/>
      <dgm:spPr/>
    </dgm:pt>
    <dgm:pt modelId="{82C5F54B-614C-45D4-8E06-DD7B0ABCD52F}" type="pres">
      <dgm:prSet presAssocID="{40F0211C-CA54-4920-BF0D-FE4D7D739BBC}" presName="composite2" presStyleCnt="0"/>
      <dgm:spPr/>
    </dgm:pt>
    <dgm:pt modelId="{77B46299-DBD7-419A-8DA2-5B5ED3B19A05}" type="pres">
      <dgm:prSet presAssocID="{40F0211C-CA54-4920-BF0D-FE4D7D739BBC}" presName="dummyNode2" presStyleLbl="node1" presStyleIdx="0" presStyleCnt="3"/>
      <dgm:spPr/>
    </dgm:pt>
    <dgm:pt modelId="{800137A5-6EA6-4198-918D-C2314F45A763}" type="pres">
      <dgm:prSet presAssocID="{40F0211C-CA54-4920-BF0D-FE4D7D739BBC}" presName="childNode2" presStyleLbl="bgAcc1" presStyleIdx="1" presStyleCnt="3">
        <dgm:presLayoutVars>
          <dgm:bulletEnabled val="1"/>
        </dgm:presLayoutVars>
      </dgm:prSet>
      <dgm:spPr/>
    </dgm:pt>
    <dgm:pt modelId="{00FDAE77-74E3-4736-BFDF-534C7C0A49D1}" type="pres">
      <dgm:prSet presAssocID="{40F0211C-CA54-4920-BF0D-FE4D7D739BBC}" presName="childNode2tx" presStyleLbl="bgAcc1" presStyleIdx="1" presStyleCnt="3">
        <dgm:presLayoutVars>
          <dgm:bulletEnabled val="1"/>
        </dgm:presLayoutVars>
      </dgm:prSet>
      <dgm:spPr/>
    </dgm:pt>
    <dgm:pt modelId="{F85C657E-A556-4F69-80CC-2B9BDC89B9FF}" type="pres">
      <dgm:prSet presAssocID="{40F0211C-CA54-4920-BF0D-FE4D7D739BBC}" presName="parentNode2" presStyleLbl="node1" presStyleIdx="1" presStyleCnt="3">
        <dgm:presLayoutVars>
          <dgm:chMax val="0"/>
          <dgm:bulletEnabled val="1"/>
        </dgm:presLayoutVars>
      </dgm:prSet>
      <dgm:spPr/>
    </dgm:pt>
    <dgm:pt modelId="{08FDE49B-9A67-4B1C-9B5D-DAA444DB008E}" type="pres">
      <dgm:prSet presAssocID="{40F0211C-CA54-4920-BF0D-FE4D7D739BBC}" presName="connSite2" presStyleCnt="0"/>
      <dgm:spPr/>
    </dgm:pt>
    <dgm:pt modelId="{A374F020-29D3-4054-90E2-A1BAA649F192}" type="pres">
      <dgm:prSet presAssocID="{21979E27-F063-4F75-A8B9-A254E5A7E0FF}" presName="Name18" presStyleLbl="sibTrans2D1" presStyleIdx="1" presStyleCnt="2"/>
      <dgm:spPr/>
    </dgm:pt>
    <dgm:pt modelId="{256691D7-56F0-44B7-A68A-9BAB68AE190C}" type="pres">
      <dgm:prSet presAssocID="{6C370B62-4C6C-4ACE-943A-BF64D625C211}" presName="composite1" presStyleCnt="0"/>
      <dgm:spPr/>
    </dgm:pt>
    <dgm:pt modelId="{4CD53EDB-A6F1-4860-B6A1-0C8A84F2E4BF}" type="pres">
      <dgm:prSet presAssocID="{6C370B62-4C6C-4ACE-943A-BF64D625C211}" presName="dummyNode1" presStyleLbl="node1" presStyleIdx="1" presStyleCnt="3"/>
      <dgm:spPr/>
    </dgm:pt>
    <dgm:pt modelId="{EB292DAC-A85F-4153-9B40-30804FDD2F75}" type="pres">
      <dgm:prSet presAssocID="{6C370B62-4C6C-4ACE-943A-BF64D625C211}" presName="childNode1" presStyleLbl="bgAcc1" presStyleIdx="2" presStyleCnt="3">
        <dgm:presLayoutVars>
          <dgm:bulletEnabled val="1"/>
        </dgm:presLayoutVars>
      </dgm:prSet>
      <dgm:spPr/>
    </dgm:pt>
    <dgm:pt modelId="{AB86C0F4-61CD-42D9-B5FA-BF7995043241}" type="pres">
      <dgm:prSet presAssocID="{6C370B62-4C6C-4ACE-943A-BF64D625C211}" presName="childNode1tx" presStyleLbl="bgAcc1" presStyleIdx="2" presStyleCnt="3">
        <dgm:presLayoutVars>
          <dgm:bulletEnabled val="1"/>
        </dgm:presLayoutVars>
      </dgm:prSet>
      <dgm:spPr/>
    </dgm:pt>
    <dgm:pt modelId="{990D0E7D-D1FF-4AA7-9329-429D004D3C3A}" type="pres">
      <dgm:prSet presAssocID="{6C370B62-4C6C-4ACE-943A-BF64D625C211}" presName="parentNode1" presStyleLbl="node1" presStyleIdx="2" presStyleCnt="3" custLinFactNeighborX="-1068">
        <dgm:presLayoutVars>
          <dgm:chMax val="1"/>
          <dgm:bulletEnabled val="1"/>
        </dgm:presLayoutVars>
      </dgm:prSet>
      <dgm:spPr/>
    </dgm:pt>
    <dgm:pt modelId="{4F1AAD6B-B2FB-4BF7-A4E4-5F41E3880BCE}" type="pres">
      <dgm:prSet presAssocID="{6C370B62-4C6C-4ACE-943A-BF64D625C211}" presName="connSite1" presStyleCnt="0"/>
      <dgm:spPr/>
    </dgm:pt>
  </dgm:ptLst>
  <dgm:cxnLst>
    <dgm:cxn modelId="{A9771601-D237-4AFF-A750-F9ACFBB095F2}" type="presOf" srcId="{4CE25A98-E044-4BCD-AFE7-7F493551B032}" destId="{AB86C0F4-61CD-42D9-B5FA-BF7995043241}" srcOrd="1" destOrd="0" presId="urn:microsoft.com/office/officeart/2005/8/layout/hProcess4"/>
    <dgm:cxn modelId="{FDC56708-A4F6-4BF7-A4D5-A1FCB35C9AAC}" type="presOf" srcId="{B1D6E0D5-05B0-49E2-AC92-BC4FE628AB9C}" destId="{55465B76-CF25-4DB0-91EE-EA5D175E71B5}" srcOrd="1" destOrd="2" presId="urn:microsoft.com/office/officeart/2005/8/layout/hProcess4"/>
    <dgm:cxn modelId="{D105DF1B-EFD9-4E09-B725-59BEE1E3196C}" srcId="{40F0211C-CA54-4920-BF0D-FE4D7D739BBC}" destId="{09539BFE-1FC5-4106-B60D-6967B11BC48A}" srcOrd="1" destOrd="0" parTransId="{11F59DFF-22F0-4DD6-8F86-93784B2E1B97}" sibTransId="{ACD22B17-1D57-4A73-B647-202BEBA87D8D}"/>
    <dgm:cxn modelId="{D6616D1E-EAB9-446A-B713-E05A61E76F49}" type="presOf" srcId="{21979E27-F063-4F75-A8B9-A254E5A7E0FF}" destId="{A374F020-29D3-4054-90E2-A1BAA649F192}" srcOrd="0" destOrd="0" presId="urn:microsoft.com/office/officeart/2005/8/layout/hProcess4"/>
    <dgm:cxn modelId="{694B471F-1D7A-41A2-BD54-FCCEB13BC79D}" srcId="{6C370B62-4C6C-4ACE-943A-BF64D625C211}" destId="{4CE25A98-E044-4BCD-AFE7-7F493551B032}" srcOrd="0" destOrd="0" parTransId="{41888EAA-DEA0-4C62-BF9C-F633ABCC521F}" sibTransId="{8C5CA0BF-8AC4-4034-B793-267EA39A1943}"/>
    <dgm:cxn modelId="{D8201622-1C05-406F-8646-4B1DCD234FFE}" type="presOf" srcId="{6C370B62-4C6C-4ACE-943A-BF64D625C211}" destId="{990D0E7D-D1FF-4AA7-9329-429D004D3C3A}" srcOrd="0" destOrd="0" presId="urn:microsoft.com/office/officeart/2005/8/layout/hProcess4"/>
    <dgm:cxn modelId="{C1B6DD2D-C2C7-4007-AE17-0B18C62D43A9}" type="presOf" srcId="{09539BFE-1FC5-4106-B60D-6967B11BC48A}" destId="{00FDAE77-74E3-4736-BFDF-534C7C0A49D1}" srcOrd="1" destOrd="1" presId="urn:microsoft.com/office/officeart/2005/8/layout/hProcess4"/>
    <dgm:cxn modelId="{B2F48E39-3278-4BF1-B8D8-EEF92CAC885C}" type="presOf" srcId="{12077F5F-D706-4A87-A0A9-3F3A536798C7}" destId="{CDBD9C66-1186-4D8C-A2DC-5621B9F2B110}" srcOrd="0" destOrd="0" presId="urn:microsoft.com/office/officeart/2005/8/layout/hProcess4"/>
    <dgm:cxn modelId="{F8AD833A-1BC1-4AB2-978B-CCAD873F29FB}" srcId="{12077F5F-D706-4A87-A0A9-3F3A536798C7}" destId="{6C370B62-4C6C-4ACE-943A-BF64D625C211}" srcOrd="2" destOrd="0" parTransId="{4395C698-9E53-4765-BAD0-5E0C5489C85A}" sibTransId="{1075796A-BEC2-4C1B-A70B-A006C72D913E}"/>
    <dgm:cxn modelId="{D0D3A140-77AE-4CE5-AEBD-3A3570907A08}" type="presOf" srcId="{4CE25A98-E044-4BCD-AFE7-7F493551B032}" destId="{EB292DAC-A85F-4153-9B40-30804FDD2F75}" srcOrd="0" destOrd="0" presId="urn:microsoft.com/office/officeart/2005/8/layout/hProcess4"/>
    <dgm:cxn modelId="{3DA68041-BB2D-4FDB-A8C2-15937E2262F6}" type="presOf" srcId="{B1D6E0D5-05B0-49E2-AC92-BC4FE628AB9C}" destId="{6F1E6411-3814-4553-8672-C6A58FD14EA2}" srcOrd="0" destOrd="2" presId="urn:microsoft.com/office/officeart/2005/8/layout/hProcess4"/>
    <dgm:cxn modelId="{E1328842-A0DA-4BDD-9A5B-51FCE6E375A6}" srcId="{A26AFD6D-2E97-4B95-A4B0-BE5D257D10E5}" destId="{F6281701-C9AB-4626-9BF3-79B96984EE61}" srcOrd="1" destOrd="0" parTransId="{E51FF112-A247-4D07-8E6C-4BC05F9E11D3}" sibTransId="{FFBF0987-E15B-4BC0-8A84-E54724BAE900}"/>
    <dgm:cxn modelId="{5BA0FC43-CAF0-4ABC-8FF8-A46AEAEA4EC5}" type="presOf" srcId="{40F0211C-CA54-4920-BF0D-FE4D7D739BBC}" destId="{F85C657E-A556-4F69-80CC-2B9BDC89B9FF}" srcOrd="0" destOrd="0" presId="urn:microsoft.com/office/officeart/2005/8/layout/hProcess4"/>
    <dgm:cxn modelId="{9C2E4E6F-911F-46AC-A53A-4159D4B1E45E}" type="presOf" srcId="{FC012518-E0E3-41C2-A2CD-0421EC851CF2}" destId="{55465B76-CF25-4DB0-91EE-EA5D175E71B5}" srcOrd="1" destOrd="0" presId="urn:microsoft.com/office/officeart/2005/8/layout/hProcess4"/>
    <dgm:cxn modelId="{6877AB52-BD89-4F01-AB80-4D1E24CF5F3C}" srcId="{40F0211C-CA54-4920-BF0D-FE4D7D739BBC}" destId="{42EE6E3D-7BFD-43A9-99BC-530D0EE2CA28}" srcOrd="0" destOrd="0" parTransId="{A82973A8-B5C2-44D3-B7DB-F2D15B19970C}" sibTransId="{7BF85CFC-82BC-40B9-824A-5204D937805D}"/>
    <dgm:cxn modelId="{BDFA7155-CCA4-4A06-A622-B66C00FFCEE1}" type="presOf" srcId="{A26AFD6D-2E97-4B95-A4B0-BE5D257D10E5}" destId="{3B2AC8ED-68BC-4930-9E9C-FBB655552462}" srcOrd="0" destOrd="0" presId="urn:microsoft.com/office/officeart/2005/8/layout/hProcess4"/>
    <dgm:cxn modelId="{B9CE955A-1356-4D65-BEED-6EAE4443D5EF}" type="presOf" srcId="{0153FD64-5B87-4141-92E3-0EE3A7DD3F30}" destId="{00FDAE77-74E3-4736-BFDF-534C7C0A49D1}" srcOrd="1" destOrd="2" presId="urn:microsoft.com/office/officeart/2005/8/layout/hProcess4"/>
    <dgm:cxn modelId="{5C969E5A-FC84-4EBD-AB8C-15B5F818CB69}" srcId="{12077F5F-D706-4A87-A0A9-3F3A536798C7}" destId="{40F0211C-CA54-4920-BF0D-FE4D7D739BBC}" srcOrd="1" destOrd="0" parTransId="{A62E06DB-8405-495B-9BB4-5D98B874F256}" sibTransId="{21979E27-F063-4F75-A8B9-A254E5A7E0FF}"/>
    <dgm:cxn modelId="{33FFAF5A-3475-4790-B4C2-B492C246C62D}" type="presOf" srcId="{401A048F-5F14-499B-B455-7139F3AF1847}" destId="{718B8DA8-CB83-44CF-A33C-16FD4E528EE0}" srcOrd="0" destOrd="0" presId="urn:microsoft.com/office/officeart/2005/8/layout/hProcess4"/>
    <dgm:cxn modelId="{5AEB0B7B-7527-4045-9558-EB245E351954}" type="presOf" srcId="{09539BFE-1FC5-4106-B60D-6967B11BC48A}" destId="{800137A5-6EA6-4198-918D-C2314F45A763}" srcOrd="0" destOrd="1" presId="urn:microsoft.com/office/officeart/2005/8/layout/hProcess4"/>
    <dgm:cxn modelId="{F010C37B-133E-41A6-B893-34B23BE28585}" type="presOf" srcId="{F6281701-C9AB-4626-9BF3-79B96984EE61}" destId="{6F1E6411-3814-4553-8672-C6A58FD14EA2}" srcOrd="0" destOrd="1" presId="urn:microsoft.com/office/officeart/2005/8/layout/hProcess4"/>
    <dgm:cxn modelId="{B89550B4-7280-4EBF-B383-601696AF440A}" srcId="{A26AFD6D-2E97-4B95-A4B0-BE5D257D10E5}" destId="{B1D6E0D5-05B0-49E2-AC92-BC4FE628AB9C}" srcOrd="2" destOrd="0" parTransId="{A1D6CDD7-C713-49CA-989C-1422314C52FD}" sibTransId="{59F62440-B005-45EA-B818-7FAE5C0EC3C1}"/>
    <dgm:cxn modelId="{AE0E7DBC-54F0-4BCD-8DE8-FC37B025F82F}" type="presOf" srcId="{42EE6E3D-7BFD-43A9-99BC-530D0EE2CA28}" destId="{800137A5-6EA6-4198-918D-C2314F45A763}" srcOrd="0" destOrd="0" presId="urn:microsoft.com/office/officeart/2005/8/layout/hProcess4"/>
    <dgm:cxn modelId="{30AE9FC5-9EBE-41C0-9C0B-A172F4A1BA31}" srcId="{A26AFD6D-2E97-4B95-A4B0-BE5D257D10E5}" destId="{FC012518-E0E3-41C2-A2CD-0421EC851CF2}" srcOrd="0" destOrd="0" parTransId="{09C5B46E-9CF0-40B1-A91E-3347B337A55E}" sibTransId="{66BA4E1D-93E6-4F97-A38D-049B813E6C75}"/>
    <dgm:cxn modelId="{0542B7C8-FD61-4B89-B18F-1730CA561949}" srcId="{12077F5F-D706-4A87-A0A9-3F3A536798C7}" destId="{A26AFD6D-2E97-4B95-A4B0-BE5D257D10E5}" srcOrd="0" destOrd="0" parTransId="{3F5FA92D-F93C-4A3C-B7AD-58489AEE67C1}" sibTransId="{401A048F-5F14-499B-B455-7139F3AF1847}"/>
    <dgm:cxn modelId="{81D247CE-767C-4653-85BF-D176A199D11F}" type="presOf" srcId="{42EE6E3D-7BFD-43A9-99BC-530D0EE2CA28}" destId="{00FDAE77-74E3-4736-BFDF-534C7C0A49D1}" srcOrd="1" destOrd="0" presId="urn:microsoft.com/office/officeart/2005/8/layout/hProcess4"/>
    <dgm:cxn modelId="{68EC1ADA-1242-4048-9D57-59172EEDAFDA}" type="presOf" srcId="{0153FD64-5B87-4141-92E3-0EE3A7DD3F30}" destId="{800137A5-6EA6-4198-918D-C2314F45A763}" srcOrd="0" destOrd="2" presId="urn:microsoft.com/office/officeart/2005/8/layout/hProcess4"/>
    <dgm:cxn modelId="{C82491E5-369B-4530-AC61-F6CDC466215E}" srcId="{40F0211C-CA54-4920-BF0D-FE4D7D739BBC}" destId="{0153FD64-5B87-4141-92E3-0EE3A7DD3F30}" srcOrd="2" destOrd="0" parTransId="{39AA0500-C0ED-414C-9214-1F40F70AB765}" sibTransId="{5328D1B1-478D-43E9-AF61-0C6A5F320F2F}"/>
    <dgm:cxn modelId="{B05466E9-7E1E-4498-8774-8C424EC231C0}" type="presOf" srcId="{F6281701-C9AB-4626-9BF3-79B96984EE61}" destId="{55465B76-CF25-4DB0-91EE-EA5D175E71B5}" srcOrd="1" destOrd="1" presId="urn:microsoft.com/office/officeart/2005/8/layout/hProcess4"/>
    <dgm:cxn modelId="{192882FF-84EE-4973-AE5B-C2F8EDB5DFED}" type="presOf" srcId="{FC012518-E0E3-41C2-A2CD-0421EC851CF2}" destId="{6F1E6411-3814-4553-8672-C6A58FD14EA2}" srcOrd="0" destOrd="0" presId="urn:microsoft.com/office/officeart/2005/8/layout/hProcess4"/>
    <dgm:cxn modelId="{27F69F95-BC9B-40D5-BCA4-F52016CA73E5}" type="presParOf" srcId="{CDBD9C66-1186-4D8C-A2DC-5621B9F2B110}" destId="{91B95892-8CB2-4F3D-A803-ECFE06FABEEF}" srcOrd="0" destOrd="0" presId="urn:microsoft.com/office/officeart/2005/8/layout/hProcess4"/>
    <dgm:cxn modelId="{C19214E6-3223-4D18-8D8A-5C71F34C87B5}" type="presParOf" srcId="{CDBD9C66-1186-4D8C-A2DC-5621B9F2B110}" destId="{70D3760B-4D23-4564-8F19-654EBA981EFB}" srcOrd="1" destOrd="0" presId="urn:microsoft.com/office/officeart/2005/8/layout/hProcess4"/>
    <dgm:cxn modelId="{2006B50C-B21D-4F5E-AA00-A740E69196E1}" type="presParOf" srcId="{CDBD9C66-1186-4D8C-A2DC-5621B9F2B110}" destId="{2AB21575-72C0-46F0-8B4D-BEE43667B3CF}" srcOrd="2" destOrd="0" presId="urn:microsoft.com/office/officeart/2005/8/layout/hProcess4"/>
    <dgm:cxn modelId="{4CD15666-1581-44E7-BEED-665AA319B4F6}" type="presParOf" srcId="{2AB21575-72C0-46F0-8B4D-BEE43667B3CF}" destId="{184E0433-0D89-40F5-8CD1-52763B6E939C}" srcOrd="0" destOrd="0" presId="urn:microsoft.com/office/officeart/2005/8/layout/hProcess4"/>
    <dgm:cxn modelId="{E87AF09A-E5D7-412F-9A5E-D9E6FEE1B488}" type="presParOf" srcId="{184E0433-0D89-40F5-8CD1-52763B6E939C}" destId="{2AC7E7B4-10F0-480E-9AB8-FD4196285820}" srcOrd="0" destOrd="0" presId="urn:microsoft.com/office/officeart/2005/8/layout/hProcess4"/>
    <dgm:cxn modelId="{36E08C9A-A405-4271-B87C-EE0164F5F106}" type="presParOf" srcId="{184E0433-0D89-40F5-8CD1-52763B6E939C}" destId="{6F1E6411-3814-4553-8672-C6A58FD14EA2}" srcOrd="1" destOrd="0" presId="urn:microsoft.com/office/officeart/2005/8/layout/hProcess4"/>
    <dgm:cxn modelId="{5B4E4EC5-B28D-4B3F-AC3B-6F64C32CCC77}" type="presParOf" srcId="{184E0433-0D89-40F5-8CD1-52763B6E939C}" destId="{55465B76-CF25-4DB0-91EE-EA5D175E71B5}" srcOrd="2" destOrd="0" presId="urn:microsoft.com/office/officeart/2005/8/layout/hProcess4"/>
    <dgm:cxn modelId="{EE83C67F-6314-46E1-A53B-B5B0907E5286}" type="presParOf" srcId="{184E0433-0D89-40F5-8CD1-52763B6E939C}" destId="{3B2AC8ED-68BC-4930-9E9C-FBB655552462}" srcOrd="3" destOrd="0" presId="urn:microsoft.com/office/officeart/2005/8/layout/hProcess4"/>
    <dgm:cxn modelId="{8649DEB1-4372-40FD-BA9B-CE191FDF3963}" type="presParOf" srcId="{184E0433-0D89-40F5-8CD1-52763B6E939C}" destId="{E2DBE664-055A-4BE8-AE88-79CDB3296897}" srcOrd="4" destOrd="0" presId="urn:microsoft.com/office/officeart/2005/8/layout/hProcess4"/>
    <dgm:cxn modelId="{0283E1F4-7804-42BC-A9BD-2C249606B632}" type="presParOf" srcId="{2AB21575-72C0-46F0-8B4D-BEE43667B3CF}" destId="{718B8DA8-CB83-44CF-A33C-16FD4E528EE0}" srcOrd="1" destOrd="0" presId="urn:microsoft.com/office/officeart/2005/8/layout/hProcess4"/>
    <dgm:cxn modelId="{F8FBB4F5-A27E-4F9D-AED5-40ACE092D688}" type="presParOf" srcId="{2AB21575-72C0-46F0-8B4D-BEE43667B3CF}" destId="{82C5F54B-614C-45D4-8E06-DD7B0ABCD52F}" srcOrd="2" destOrd="0" presId="urn:microsoft.com/office/officeart/2005/8/layout/hProcess4"/>
    <dgm:cxn modelId="{28901077-79FB-4027-B6C4-7C26234657F3}" type="presParOf" srcId="{82C5F54B-614C-45D4-8E06-DD7B0ABCD52F}" destId="{77B46299-DBD7-419A-8DA2-5B5ED3B19A05}" srcOrd="0" destOrd="0" presId="urn:microsoft.com/office/officeart/2005/8/layout/hProcess4"/>
    <dgm:cxn modelId="{DB8BB4B8-4945-49D9-8E55-9F1DBAB78C30}" type="presParOf" srcId="{82C5F54B-614C-45D4-8E06-DD7B0ABCD52F}" destId="{800137A5-6EA6-4198-918D-C2314F45A763}" srcOrd="1" destOrd="0" presId="urn:microsoft.com/office/officeart/2005/8/layout/hProcess4"/>
    <dgm:cxn modelId="{3A5DE8FD-A344-42B9-9E7D-F9275EFF9401}" type="presParOf" srcId="{82C5F54B-614C-45D4-8E06-DD7B0ABCD52F}" destId="{00FDAE77-74E3-4736-BFDF-534C7C0A49D1}" srcOrd="2" destOrd="0" presId="urn:microsoft.com/office/officeart/2005/8/layout/hProcess4"/>
    <dgm:cxn modelId="{308947E1-C6F1-45C1-877A-81B2D17FA2BE}" type="presParOf" srcId="{82C5F54B-614C-45D4-8E06-DD7B0ABCD52F}" destId="{F85C657E-A556-4F69-80CC-2B9BDC89B9FF}" srcOrd="3" destOrd="0" presId="urn:microsoft.com/office/officeart/2005/8/layout/hProcess4"/>
    <dgm:cxn modelId="{3750C358-7AE1-479D-9865-CDFA7C4B6B37}" type="presParOf" srcId="{82C5F54B-614C-45D4-8E06-DD7B0ABCD52F}" destId="{08FDE49B-9A67-4B1C-9B5D-DAA444DB008E}" srcOrd="4" destOrd="0" presId="urn:microsoft.com/office/officeart/2005/8/layout/hProcess4"/>
    <dgm:cxn modelId="{5C1EB166-9B9D-4DF5-8ADB-4217120276D5}" type="presParOf" srcId="{2AB21575-72C0-46F0-8B4D-BEE43667B3CF}" destId="{A374F020-29D3-4054-90E2-A1BAA649F192}" srcOrd="3" destOrd="0" presId="urn:microsoft.com/office/officeart/2005/8/layout/hProcess4"/>
    <dgm:cxn modelId="{0986A1A1-E33B-46DD-8AE5-0936C2C2D31F}" type="presParOf" srcId="{2AB21575-72C0-46F0-8B4D-BEE43667B3CF}" destId="{256691D7-56F0-44B7-A68A-9BAB68AE190C}" srcOrd="4" destOrd="0" presId="urn:microsoft.com/office/officeart/2005/8/layout/hProcess4"/>
    <dgm:cxn modelId="{3BC39CE0-C668-43A5-8E0E-7C8B82648C4C}" type="presParOf" srcId="{256691D7-56F0-44B7-A68A-9BAB68AE190C}" destId="{4CD53EDB-A6F1-4860-B6A1-0C8A84F2E4BF}" srcOrd="0" destOrd="0" presId="urn:microsoft.com/office/officeart/2005/8/layout/hProcess4"/>
    <dgm:cxn modelId="{B8D7B903-A529-46D0-A713-1B8331D0A4B7}" type="presParOf" srcId="{256691D7-56F0-44B7-A68A-9BAB68AE190C}" destId="{EB292DAC-A85F-4153-9B40-30804FDD2F75}" srcOrd="1" destOrd="0" presId="urn:microsoft.com/office/officeart/2005/8/layout/hProcess4"/>
    <dgm:cxn modelId="{1A2F36FF-7B42-4E6A-8629-F80BFA82D251}" type="presParOf" srcId="{256691D7-56F0-44B7-A68A-9BAB68AE190C}" destId="{AB86C0F4-61CD-42D9-B5FA-BF7995043241}" srcOrd="2" destOrd="0" presId="urn:microsoft.com/office/officeart/2005/8/layout/hProcess4"/>
    <dgm:cxn modelId="{14EB6E65-D14E-4257-BF8C-1DDAB7AC9E1A}" type="presParOf" srcId="{256691D7-56F0-44B7-A68A-9BAB68AE190C}" destId="{990D0E7D-D1FF-4AA7-9329-429D004D3C3A}" srcOrd="3" destOrd="0" presId="urn:microsoft.com/office/officeart/2005/8/layout/hProcess4"/>
    <dgm:cxn modelId="{C034303B-9BB6-45A3-B792-AD3A6D74F902}" type="presParOf" srcId="{256691D7-56F0-44B7-A68A-9BAB68AE190C}" destId="{4F1AAD6B-B2FB-4BF7-A4E4-5F41E3880BC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0F0B216-57AF-4EE3-8D53-A39E1E374C9E}" type="doc">
      <dgm:prSet loTypeId="urn:microsoft.com/office/officeart/2009/3/layout/StepUpProcess" loCatId="process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B2627ACE-C5A1-4546-80D2-2FF73D18813D}">
      <dgm:prSet phldrT="[Text]" custT="1"/>
      <dgm:spPr/>
      <dgm:t>
        <a:bodyPr/>
        <a:lstStyle/>
        <a:p>
          <a:r>
            <a:rPr lang="en-US" sz="3600" dirty="0"/>
            <a:t>Level1</a:t>
          </a:r>
        </a:p>
      </dgm:t>
    </dgm:pt>
    <dgm:pt modelId="{8FB26D78-1FDB-45DC-819E-5F0FF7075392}" type="parTrans" cxnId="{D4665260-97E7-45C8-BA6B-65A81169498B}">
      <dgm:prSet/>
      <dgm:spPr/>
      <dgm:t>
        <a:bodyPr/>
        <a:lstStyle/>
        <a:p>
          <a:endParaRPr lang="en-US" sz="1100"/>
        </a:p>
      </dgm:t>
    </dgm:pt>
    <dgm:pt modelId="{A5B7E6FD-9292-490F-BA36-5D803A8B8400}" type="sibTrans" cxnId="{D4665260-97E7-45C8-BA6B-65A81169498B}">
      <dgm:prSet/>
      <dgm:spPr/>
      <dgm:t>
        <a:bodyPr/>
        <a:lstStyle/>
        <a:p>
          <a:endParaRPr lang="en-US" sz="1100"/>
        </a:p>
      </dgm:t>
    </dgm:pt>
    <dgm:pt modelId="{33D6B135-216E-4807-9044-7497EEC769EC}">
      <dgm:prSet phldrT="[Text]" custT="1"/>
      <dgm:spPr/>
      <dgm:t>
        <a:bodyPr/>
        <a:lstStyle/>
        <a:p>
          <a:r>
            <a:rPr lang="en-US" sz="3600" dirty="0"/>
            <a:t>Level2</a:t>
          </a:r>
        </a:p>
      </dgm:t>
    </dgm:pt>
    <dgm:pt modelId="{17D46C48-D675-4455-B053-6403A138ADA3}" type="parTrans" cxnId="{839B9FF7-1501-41A3-9253-FEAFB592A0C1}">
      <dgm:prSet/>
      <dgm:spPr/>
      <dgm:t>
        <a:bodyPr/>
        <a:lstStyle/>
        <a:p>
          <a:endParaRPr lang="en-US" sz="1100"/>
        </a:p>
      </dgm:t>
    </dgm:pt>
    <dgm:pt modelId="{E1FE41C0-602F-417C-9AD4-3F2D434BBD31}" type="sibTrans" cxnId="{839B9FF7-1501-41A3-9253-FEAFB592A0C1}">
      <dgm:prSet/>
      <dgm:spPr/>
      <dgm:t>
        <a:bodyPr/>
        <a:lstStyle/>
        <a:p>
          <a:endParaRPr lang="en-US" sz="1100"/>
        </a:p>
      </dgm:t>
    </dgm:pt>
    <dgm:pt modelId="{43A6B033-F346-44BF-9E82-B3FA63F5D2F3}">
      <dgm:prSet phldrT="[Text]" custT="1"/>
      <dgm:spPr/>
      <dgm:t>
        <a:bodyPr/>
        <a:lstStyle/>
        <a:p>
          <a:r>
            <a:rPr lang="en-US" sz="3600" dirty="0"/>
            <a:t>Level3</a:t>
          </a:r>
        </a:p>
      </dgm:t>
    </dgm:pt>
    <dgm:pt modelId="{76792BFF-E9D0-4D14-B0C5-2C73580A69F3}" type="parTrans" cxnId="{A2A13334-B06B-4AE7-A4C7-67FBAB636C93}">
      <dgm:prSet/>
      <dgm:spPr/>
      <dgm:t>
        <a:bodyPr/>
        <a:lstStyle/>
        <a:p>
          <a:endParaRPr lang="en-US" sz="1100"/>
        </a:p>
      </dgm:t>
    </dgm:pt>
    <dgm:pt modelId="{6235860A-63BD-41CB-B741-4B87C835B6BF}" type="sibTrans" cxnId="{A2A13334-B06B-4AE7-A4C7-67FBAB636C93}">
      <dgm:prSet/>
      <dgm:spPr/>
      <dgm:t>
        <a:bodyPr/>
        <a:lstStyle/>
        <a:p>
          <a:endParaRPr lang="en-US" sz="1100"/>
        </a:p>
      </dgm:t>
    </dgm:pt>
    <dgm:pt modelId="{D8E3BABE-B92A-4A05-A34F-39C17FEEEC0D}" type="pres">
      <dgm:prSet presAssocID="{C0F0B216-57AF-4EE3-8D53-A39E1E374C9E}" presName="rootnode" presStyleCnt="0">
        <dgm:presLayoutVars>
          <dgm:chMax/>
          <dgm:chPref/>
          <dgm:dir/>
          <dgm:animLvl val="lvl"/>
        </dgm:presLayoutVars>
      </dgm:prSet>
      <dgm:spPr/>
    </dgm:pt>
    <dgm:pt modelId="{B0E517B5-0F73-42AF-B503-6DACC8C5032B}" type="pres">
      <dgm:prSet presAssocID="{B2627ACE-C5A1-4546-80D2-2FF73D18813D}" presName="composite" presStyleCnt="0"/>
      <dgm:spPr/>
    </dgm:pt>
    <dgm:pt modelId="{7873F13A-E441-4602-BD18-B26C09F8AB22}" type="pres">
      <dgm:prSet presAssocID="{B2627ACE-C5A1-4546-80D2-2FF73D18813D}" presName="LShape" presStyleLbl="alignNode1" presStyleIdx="0" presStyleCnt="5"/>
      <dgm:spPr/>
    </dgm:pt>
    <dgm:pt modelId="{BAC7DB97-C9E5-47D1-B86E-18BA472CAFA2}" type="pres">
      <dgm:prSet presAssocID="{B2627ACE-C5A1-4546-80D2-2FF73D18813D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C106AB9A-70C7-41C0-A3B9-BAC695FE4023}" type="pres">
      <dgm:prSet presAssocID="{B2627ACE-C5A1-4546-80D2-2FF73D18813D}" presName="Triangle" presStyleLbl="alignNode1" presStyleIdx="1" presStyleCnt="5"/>
      <dgm:spPr/>
    </dgm:pt>
    <dgm:pt modelId="{2AB6C0D6-554A-461F-9228-09C39171CDC7}" type="pres">
      <dgm:prSet presAssocID="{A5B7E6FD-9292-490F-BA36-5D803A8B8400}" presName="sibTrans" presStyleCnt="0"/>
      <dgm:spPr/>
    </dgm:pt>
    <dgm:pt modelId="{17D3274B-21FA-4106-B00E-F64602585DB1}" type="pres">
      <dgm:prSet presAssocID="{A5B7E6FD-9292-490F-BA36-5D803A8B8400}" presName="space" presStyleCnt="0"/>
      <dgm:spPr/>
    </dgm:pt>
    <dgm:pt modelId="{7DA4F841-9FE6-411A-B968-29D26855EDE3}" type="pres">
      <dgm:prSet presAssocID="{33D6B135-216E-4807-9044-7497EEC769EC}" presName="composite" presStyleCnt="0"/>
      <dgm:spPr/>
    </dgm:pt>
    <dgm:pt modelId="{8214266B-B788-462D-BACB-A80AB34FBA86}" type="pres">
      <dgm:prSet presAssocID="{33D6B135-216E-4807-9044-7497EEC769EC}" presName="LShape" presStyleLbl="alignNode1" presStyleIdx="2" presStyleCnt="5"/>
      <dgm:spPr/>
    </dgm:pt>
    <dgm:pt modelId="{D36BF1BF-B471-47F8-8BB1-4FF9D563E5E8}" type="pres">
      <dgm:prSet presAssocID="{33D6B135-216E-4807-9044-7497EEC769EC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A7D2DE00-2AAC-4F18-8FC3-B8A0CF712CA8}" type="pres">
      <dgm:prSet presAssocID="{33D6B135-216E-4807-9044-7497EEC769EC}" presName="Triangle" presStyleLbl="alignNode1" presStyleIdx="3" presStyleCnt="5"/>
      <dgm:spPr/>
    </dgm:pt>
    <dgm:pt modelId="{769AE17A-608B-4883-924F-06B1665BECE6}" type="pres">
      <dgm:prSet presAssocID="{E1FE41C0-602F-417C-9AD4-3F2D434BBD31}" presName="sibTrans" presStyleCnt="0"/>
      <dgm:spPr/>
    </dgm:pt>
    <dgm:pt modelId="{CDC62A75-3348-40AF-95B0-DD7C3310E107}" type="pres">
      <dgm:prSet presAssocID="{E1FE41C0-602F-417C-9AD4-3F2D434BBD31}" presName="space" presStyleCnt="0"/>
      <dgm:spPr/>
    </dgm:pt>
    <dgm:pt modelId="{81A41679-6FF0-4728-8C7A-A0C3FAECE76E}" type="pres">
      <dgm:prSet presAssocID="{43A6B033-F346-44BF-9E82-B3FA63F5D2F3}" presName="composite" presStyleCnt="0"/>
      <dgm:spPr/>
    </dgm:pt>
    <dgm:pt modelId="{878C709F-2C1A-4C06-AE8E-66D5650439BB}" type="pres">
      <dgm:prSet presAssocID="{43A6B033-F346-44BF-9E82-B3FA63F5D2F3}" presName="LShape" presStyleLbl="alignNode1" presStyleIdx="4" presStyleCnt="5"/>
      <dgm:spPr/>
    </dgm:pt>
    <dgm:pt modelId="{A33464F8-78B8-40FB-805E-A8A41D2BF118}" type="pres">
      <dgm:prSet presAssocID="{43A6B033-F346-44BF-9E82-B3FA63F5D2F3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A2A13334-B06B-4AE7-A4C7-67FBAB636C93}" srcId="{C0F0B216-57AF-4EE3-8D53-A39E1E374C9E}" destId="{43A6B033-F346-44BF-9E82-B3FA63F5D2F3}" srcOrd="2" destOrd="0" parTransId="{76792BFF-E9D0-4D14-B0C5-2C73580A69F3}" sibTransId="{6235860A-63BD-41CB-B741-4B87C835B6BF}"/>
    <dgm:cxn modelId="{D4665260-97E7-45C8-BA6B-65A81169498B}" srcId="{C0F0B216-57AF-4EE3-8D53-A39E1E374C9E}" destId="{B2627ACE-C5A1-4546-80D2-2FF73D18813D}" srcOrd="0" destOrd="0" parTransId="{8FB26D78-1FDB-45DC-819E-5F0FF7075392}" sibTransId="{A5B7E6FD-9292-490F-BA36-5D803A8B8400}"/>
    <dgm:cxn modelId="{03FE7371-4E41-486F-9151-58E0243F515E}" type="presOf" srcId="{C0F0B216-57AF-4EE3-8D53-A39E1E374C9E}" destId="{D8E3BABE-B92A-4A05-A34F-39C17FEEEC0D}" srcOrd="0" destOrd="0" presId="urn:microsoft.com/office/officeart/2009/3/layout/StepUpProcess"/>
    <dgm:cxn modelId="{1FF84982-9D16-482D-BB4A-5CA209555EC6}" type="presOf" srcId="{43A6B033-F346-44BF-9E82-B3FA63F5D2F3}" destId="{A33464F8-78B8-40FB-805E-A8A41D2BF118}" srcOrd="0" destOrd="0" presId="urn:microsoft.com/office/officeart/2009/3/layout/StepUpProcess"/>
    <dgm:cxn modelId="{5950F8A6-948C-48B6-9AF6-A92734947E77}" type="presOf" srcId="{B2627ACE-C5A1-4546-80D2-2FF73D18813D}" destId="{BAC7DB97-C9E5-47D1-B86E-18BA472CAFA2}" srcOrd="0" destOrd="0" presId="urn:microsoft.com/office/officeart/2009/3/layout/StepUpProcess"/>
    <dgm:cxn modelId="{E2ABEBE2-BDDB-4588-96B6-1A68BB02213B}" type="presOf" srcId="{33D6B135-216E-4807-9044-7497EEC769EC}" destId="{D36BF1BF-B471-47F8-8BB1-4FF9D563E5E8}" srcOrd="0" destOrd="0" presId="urn:microsoft.com/office/officeart/2009/3/layout/StepUpProcess"/>
    <dgm:cxn modelId="{839B9FF7-1501-41A3-9253-FEAFB592A0C1}" srcId="{C0F0B216-57AF-4EE3-8D53-A39E1E374C9E}" destId="{33D6B135-216E-4807-9044-7497EEC769EC}" srcOrd="1" destOrd="0" parTransId="{17D46C48-D675-4455-B053-6403A138ADA3}" sibTransId="{E1FE41C0-602F-417C-9AD4-3F2D434BBD31}"/>
    <dgm:cxn modelId="{2201D64E-F4CD-42B7-ADE2-655E8EE6E2D4}" type="presParOf" srcId="{D8E3BABE-B92A-4A05-A34F-39C17FEEEC0D}" destId="{B0E517B5-0F73-42AF-B503-6DACC8C5032B}" srcOrd="0" destOrd="0" presId="urn:microsoft.com/office/officeart/2009/3/layout/StepUpProcess"/>
    <dgm:cxn modelId="{1308D088-D1A2-4EB4-8121-DC395DE91CFE}" type="presParOf" srcId="{B0E517B5-0F73-42AF-B503-6DACC8C5032B}" destId="{7873F13A-E441-4602-BD18-B26C09F8AB22}" srcOrd="0" destOrd="0" presId="urn:microsoft.com/office/officeart/2009/3/layout/StepUpProcess"/>
    <dgm:cxn modelId="{C14997BD-0E5E-4E06-9D7A-584C95DDFE59}" type="presParOf" srcId="{B0E517B5-0F73-42AF-B503-6DACC8C5032B}" destId="{BAC7DB97-C9E5-47D1-B86E-18BA472CAFA2}" srcOrd="1" destOrd="0" presId="urn:microsoft.com/office/officeart/2009/3/layout/StepUpProcess"/>
    <dgm:cxn modelId="{4A6036A0-245A-4FB4-B9C8-B244ED51FE8B}" type="presParOf" srcId="{B0E517B5-0F73-42AF-B503-6DACC8C5032B}" destId="{C106AB9A-70C7-41C0-A3B9-BAC695FE4023}" srcOrd="2" destOrd="0" presId="urn:microsoft.com/office/officeart/2009/3/layout/StepUpProcess"/>
    <dgm:cxn modelId="{C30B3D5B-1E31-4DAF-BA1B-0F7BF719DE85}" type="presParOf" srcId="{D8E3BABE-B92A-4A05-A34F-39C17FEEEC0D}" destId="{2AB6C0D6-554A-461F-9228-09C39171CDC7}" srcOrd="1" destOrd="0" presId="urn:microsoft.com/office/officeart/2009/3/layout/StepUpProcess"/>
    <dgm:cxn modelId="{BED18087-5084-45A2-A1B0-DE15131634A1}" type="presParOf" srcId="{2AB6C0D6-554A-461F-9228-09C39171CDC7}" destId="{17D3274B-21FA-4106-B00E-F64602585DB1}" srcOrd="0" destOrd="0" presId="urn:microsoft.com/office/officeart/2009/3/layout/StepUpProcess"/>
    <dgm:cxn modelId="{BB8E651A-A8F3-4968-97CA-326639E11619}" type="presParOf" srcId="{D8E3BABE-B92A-4A05-A34F-39C17FEEEC0D}" destId="{7DA4F841-9FE6-411A-B968-29D26855EDE3}" srcOrd="2" destOrd="0" presId="urn:microsoft.com/office/officeart/2009/3/layout/StepUpProcess"/>
    <dgm:cxn modelId="{408BA9A5-5BED-4D97-BAF5-5C14C9B77635}" type="presParOf" srcId="{7DA4F841-9FE6-411A-B968-29D26855EDE3}" destId="{8214266B-B788-462D-BACB-A80AB34FBA86}" srcOrd="0" destOrd="0" presId="urn:microsoft.com/office/officeart/2009/3/layout/StepUpProcess"/>
    <dgm:cxn modelId="{8C721110-440D-4D25-AD0F-F7D2809CF7B1}" type="presParOf" srcId="{7DA4F841-9FE6-411A-B968-29D26855EDE3}" destId="{D36BF1BF-B471-47F8-8BB1-4FF9D563E5E8}" srcOrd="1" destOrd="0" presId="urn:microsoft.com/office/officeart/2009/3/layout/StepUpProcess"/>
    <dgm:cxn modelId="{F1491133-67B1-47A8-B01B-736F319EAF9F}" type="presParOf" srcId="{7DA4F841-9FE6-411A-B968-29D26855EDE3}" destId="{A7D2DE00-2AAC-4F18-8FC3-B8A0CF712CA8}" srcOrd="2" destOrd="0" presId="urn:microsoft.com/office/officeart/2009/3/layout/StepUpProcess"/>
    <dgm:cxn modelId="{0B2E3977-1C20-4637-9646-3158386BF125}" type="presParOf" srcId="{D8E3BABE-B92A-4A05-A34F-39C17FEEEC0D}" destId="{769AE17A-608B-4883-924F-06B1665BECE6}" srcOrd="3" destOrd="0" presId="urn:microsoft.com/office/officeart/2009/3/layout/StepUpProcess"/>
    <dgm:cxn modelId="{5BF72E88-B414-447C-B089-738C037C2D24}" type="presParOf" srcId="{769AE17A-608B-4883-924F-06B1665BECE6}" destId="{CDC62A75-3348-40AF-95B0-DD7C3310E107}" srcOrd="0" destOrd="0" presId="urn:microsoft.com/office/officeart/2009/3/layout/StepUpProcess"/>
    <dgm:cxn modelId="{16782354-D46F-4896-99C4-4B505F39B006}" type="presParOf" srcId="{D8E3BABE-B92A-4A05-A34F-39C17FEEEC0D}" destId="{81A41679-6FF0-4728-8C7A-A0C3FAECE76E}" srcOrd="4" destOrd="0" presId="urn:microsoft.com/office/officeart/2009/3/layout/StepUpProcess"/>
    <dgm:cxn modelId="{B1B6260A-9079-4633-80A0-22DE906D1A71}" type="presParOf" srcId="{81A41679-6FF0-4728-8C7A-A0C3FAECE76E}" destId="{878C709F-2C1A-4C06-AE8E-66D5650439BB}" srcOrd="0" destOrd="0" presId="urn:microsoft.com/office/officeart/2009/3/layout/StepUpProcess"/>
    <dgm:cxn modelId="{42FE56B1-C829-4DA9-98B7-4D80B9CA9DE6}" type="presParOf" srcId="{81A41679-6FF0-4728-8C7A-A0C3FAECE76E}" destId="{A33464F8-78B8-40FB-805E-A8A41D2BF118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9A6509-9736-4FD5-ABA2-F74850AED7CB}">
      <dsp:nvSpPr>
        <dsp:cNvPr id="0" name=""/>
        <dsp:cNvSpPr/>
      </dsp:nvSpPr>
      <dsp:spPr>
        <a:xfrm>
          <a:off x="2116497" y="1767574"/>
          <a:ext cx="2160369" cy="2160369"/>
        </a:xfrm>
        <a:prstGeom prst="gear9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Skill Shortage</a:t>
          </a:r>
        </a:p>
      </dsp:txBody>
      <dsp:txXfrm>
        <a:off x="2550827" y="2273630"/>
        <a:ext cx="1291709" cy="1110474"/>
      </dsp:txXfrm>
    </dsp:sp>
    <dsp:sp modelId="{0064D915-1F98-4D52-8251-CD6896905462}">
      <dsp:nvSpPr>
        <dsp:cNvPr id="0" name=""/>
        <dsp:cNvSpPr/>
      </dsp:nvSpPr>
      <dsp:spPr>
        <a:xfrm>
          <a:off x="859555" y="1256942"/>
          <a:ext cx="1571177" cy="1571177"/>
        </a:xfrm>
        <a:prstGeom prst="gear6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Increased Work Hours</a:t>
          </a:r>
        </a:p>
      </dsp:txBody>
      <dsp:txXfrm>
        <a:off x="1255104" y="1654881"/>
        <a:ext cx="780079" cy="775299"/>
      </dsp:txXfrm>
    </dsp:sp>
    <dsp:sp modelId="{BB0A999C-9837-432D-8BDD-FE4F7457C9DF}">
      <dsp:nvSpPr>
        <dsp:cNvPr id="0" name=""/>
        <dsp:cNvSpPr/>
      </dsp:nvSpPr>
      <dsp:spPr>
        <a:xfrm rot="20700000">
          <a:off x="1739575" y="172989"/>
          <a:ext cx="1539433" cy="1539433"/>
        </a:xfrm>
        <a:prstGeom prst="gear6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dirty="0"/>
            <a:t>Lack of specialized skills</a:t>
          </a:r>
        </a:p>
      </dsp:txBody>
      <dsp:txXfrm rot="-20700000">
        <a:off x="2077218" y="510632"/>
        <a:ext cx="864147" cy="864147"/>
      </dsp:txXfrm>
    </dsp:sp>
    <dsp:sp modelId="{D31ED3A8-136D-40F1-8F95-7040F438D26E}">
      <dsp:nvSpPr>
        <dsp:cNvPr id="0" name=""/>
        <dsp:cNvSpPr/>
      </dsp:nvSpPr>
      <dsp:spPr>
        <a:xfrm>
          <a:off x="1947481" y="1443224"/>
          <a:ext cx="2765272" cy="2765272"/>
        </a:xfrm>
        <a:prstGeom prst="circularArrow">
          <a:avLst>
            <a:gd name="adj1" fmla="val 4687"/>
            <a:gd name="adj2" fmla="val 299029"/>
            <a:gd name="adj3" fmla="val 2509587"/>
            <a:gd name="adj4" fmla="val 15875521"/>
            <a:gd name="adj5" fmla="val 5469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C727D0-F565-4A49-9DAC-98CF2A3F8278}">
      <dsp:nvSpPr>
        <dsp:cNvPr id="0" name=""/>
        <dsp:cNvSpPr/>
      </dsp:nvSpPr>
      <dsp:spPr>
        <a:xfrm>
          <a:off x="581303" y="910443"/>
          <a:ext cx="2009143" cy="200914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6DB17B-48E8-4033-8039-9788670AF133}">
      <dsp:nvSpPr>
        <dsp:cNvPr id="0" name=""/>
        <dsp:cNvSpPr/>
      </dsp:nvSpPr>
      <dsp:spPr>
        <a:xfrm>
          <a:off x="1383488" y="-163060"/>
          <a:ext cx="2166261" cy="216626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D35F2C-596E-4D36-9736-D78D433F6E9C}">
      <dsp:nvSpPr>
        <dsp:cNvPr id="0" name=""/>
        <dsp:cNvSpPr/>
      </dsp:nvSpPr>
      <dsp:spPr>
        <a:xfrm>
          <a:off x="391256" y="1782"/>
          <a:ext cx="685992" cy="685992"/>
        </a:xfrm>
        <a:prstGeom prst="ellipse">
          <a:avLst/>
        </a:prstGeom>
        <a:solidFill>
          <a:schemeClr val="accent1">
            <a:shade val="80000"/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0D255C5-6A5A-47CB-9B9B-F055E994625D}">
      <dsp:nvSpPr>
        <dsp:cNvPr id="0" name=""/>
        <dsp:cNvSpPr/>
      </dsp:nvSpPr>
      <dsp:spPr>
        <a:xfrm>
          <a:off x="734253" y="1782"/>
          <a:ext cx="3660021" cy="685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Goal Oriented</a:t>
          </a:r>
        </a:p>
      </dsp:txBody>
      <dsp:txXfrm>
        <a:off x="734253" y="1782"/>
        <a:ext cx="3660021" cy="685992"/>
      </dsp:txXfrm>
    </dsp:sp>
    <dsp:sp modelId="{8ACB5363-3E67-4DEE-9F73-03E5B8A2FF5F}">
      <dsp:nvSpPr>
        <dsp:cNvPr id="0" name=""/>
        <dsp:cNvSpPr/>
      </dsp:nvSpPr>
      <dsp:spPr>
        <a:xfrm>
          <a:off x="391256" y="687775"/>
          <a:ext cx="685992" cy="685992"/>
        </a:xfrm>
        <a:prstGeom prst="ellipse">
          <a:avLst/>
        </a:prstGeom>
        <a:solidFill>
          <a:schemeClr val="accent1">
            <a:shade val="80000"/>
            <a:alpha val="50000"/>
            <a:hueOff val="44797"/>
            <a:satOff val="-3166"/>
            <a:lumOff val="761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03D9EE1E-1084-45A0-ACEA-9BA0E5C25117}">
      <dsp:nvSpPr>
        <dsp:cNvPr id="0" name=""/>
        <dsp:cNvSpPr/>
      </dsp:nvSpPr>
      <dsp:spPr>
        <a:xfrm>
          <a:off x="734253" y="687775"/>
          <a:ext cx="3660021" cy="685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nables Continuous Learning</a:t>
          </a:r>
        </a:p>
      </dsp:txBody>
      <dsp:txXfrm>
        <a:off x="734253" y="687775"/>
        <a:ext cx="3660021" cy="685992"/>
      </dsp:txXfrm>
    </dsp:sp>
    <dsp:sp modelId="{183E182C-8CBF-45CC-B134-4AA730CA3B5F}">
      <dsp:nvSpPr>
        <dsp:cNvPr id="0" name=""/>
        <dsp:cNvSpPr/>
      </dsp:nvSpPr>
      <dsp:spPr>
        <a:xfrm>
          <a:off x="391256" y="1373767"/>
          <a:ext cx="685992" cy="685992"/>
        </a:xfrm>
        <a:prstGeom prst="ellipse">
          <a:avLst/>
        </a:prstGeom>
        <a:solidFill>
          <a:schemeClr val="accent1">
            <a:shade val="80000"/>
            <a:alpha val="50000"/>
            <a:hueOff val="89594"/>
            <a:satOff val="-6332"/>
            <a:lumOff val="1522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37FDE87-5B6A-4D99-ADB1-71311946E6AF}">
      <dsp:nvSpPr>
        <dsp:cNvPr id="0" name=""/>
        <dsp:cNvSpPr/>
      </dsp:nvSpPr>
      <dsp:spPr>
        <a:xfrm>
          <a:off x="734253" y="1373767"/>
          <a:ext cx="3660021" cy="685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velops Collaboration </a:t>
          </a:r>
        </a:p>
      </dsp:txBody>
      <dsp:txXfrm>
        <a:off x="734253" y="1373767"/>
        <a:ext cx="3660021" cy="685992"/>
      </dsp:txXfrm>
    </dsp:sp>
    <dsp:sp modelId="{FE35B65A-0C52-49E2-97B9-191DA78609F2}">
      <dsp:nvSpPr>
        <dsp:cNvPr id="0" name=""/>
        <dsp:cNvSpPr/>
      </dsp:nvSpPr>
      <dsp:spPr>
        <a:xfrm>
          <a:off x="391256" y="2059760"/>
          <a:ext cx="685992" cy="685992"/>
        </a:xfrm>
        <a:prstGeom prst="ellipse">
          <a:avLst/>
        </a:prstGeom>
        <a:solidFill>
          <a:schemeClr val="accent1">
            <a:shade val="80000"/>
            <a:alpha val="50000"/>
            <a:hueOff val="134392"/>
            <a:satOff val="-9498"/>
            <a:lumOff val="2283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92332AF-F4F0-44C4-A5DF-ACB537E4257D}">
      <dsp:nvSpPr>
        <dsp:cNvPr id="0" name=""/>
        <dsp:cNvSpPr/>
      </dsp:nvSpPr>
      <dsp:spPr>
        <a:xfrm>
          <a:off x="734253" y="2059760"/>
          <a:ext cx="3660021" cy="685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gile Learning</a:t>
          </a:r>
        </a:p>
      </dsp:txBody>
      <dsp:txXfrm>
        <a:off x="734253" y="2059760"/>
        <a:ext cx="3660021" cy="685992"/>
      </dsp:txXfrm>
    </dsp:sp>
    <dsp:sp modelId="{4A017328-5176-4263-8A6D-8C5816A3FD7F}">
      <dsp:nvSpPr>
        <dsp:cNvPr id="0" name=""/>
        <dsp:cNvSpPr/>
      </dsp:nvSpPr>
      <dsp:spPr>
        <a:xfrm>
          <a:off x="391256" y="2745752"/>
          <a:ext cx="685992" cy="685992"/>
        </a:xfrm>
        <a:prstGeom prst="ellipse">
          <a:avLst/>
        </a:prstGeom>
        <a:solidFill>
          <a:schemeClr val="accent1">
            <a:shade val="80000"/>
            <a:alpha val="50000"/>
            <a:hueOff val="179189"/>
            <a:satOff val="-12664"/>
            <a:lumOff val="3044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49144B48-04C7-4616-BEE6-700C629CD1B8}">
      <dsp:nvSpPr>
        <dsp:cNvPr id="0" name=""/>
        <dsp:cNvSpPr/>
      </dsp:nvSpPr>
      <dsp:spPr>
        <a:xfrm>
          <a:off x="734253" y="2745752"/>
          <a:ext cx="3660021" cy="685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7780" rIns="0" bIns="1778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ssessment </a:t>
          </a:r>
        </a:p>
      </dsp:txBody>
      <dsp:txXfrm>
        <a:off x="734253" y="2745752"/>
        <a:ext cx="3660021" cy="6859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1E6411-3814-4553-8672-C6A58FD14EA2}">
      <dsp:nvSpPr>
        <dsp:cNvPr id="0" name=""/>
        <dsp:cNvSpPr/>
      </dsp:nvSpPr>
      <dsp:spPr>
        <a:xfrm>
          <a:off x="212788" y="1014355"/>
          <a:ext cx="2363209" cy="19491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How many Employe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Current Skill Level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Desired KPIs</a:t>
          </a:r>
        </a:p>
      </dsp:txBody>
      <dsp:txXfrm>
        <a:off x="257643" y="1059210"/>
        <a:ext cx="2273499" cy="1441768"/>
      </dsp:txXfrm>
    </dsp:sp>
    <dsp:sp modelId="{718B8DA8-CB83-44CF-A33C-16FD4E528EE0}">
      <dsp:nvSpPr>
        <dsp:cNvPr id="0" name=""/>
        <dsp:cNvSpPr/>
      </dsp:nvSpPr>
      <dsp:spPr>
        <a:xfrm>
          <a:off x="1519734" y="1402742"/>
          <a:ext cx="2718221" cy="2718221"/>
        </a:xfrm>
        <a:prstGeom prst="leftCircularArrow">
          <a:avLst>
            <a:gd name="adj1" fmla="val 3564"/>
            <a:gd name="adj2" fmla="val 442838"/>
            <a:gd name="adj3" fmla="val 2218349"/>
            <a:gd name="adj4" fmla="val 9024489"/>
            <a:gd name="adj5" fmla="val 415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AC8ED-68BC-4930-9E9C-FBB655552462}">
      <dsp:nvSpPr>
        <dsp:cNvPr id="0" name=""/>
        <dsp:cNvSpPr/>
      </dsp:nvSpPr>
      <dsp:spPr>
        <a:xfrm>
          <a:off x="737946" y="2545833"/>
          <a:ext cx="2100630" cy="835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/>
            <a:t>Step 1: Workforce Skills Assessment</a:t>
          </a:r>
        </a:p>
      </dsp:txBody>
      <dsp:txXfrm>
        <a:off x="762413" y="2570300"/>
        <a:ext cx="2051696" cy="786417"/>
      </dsp:txXfrm>
    </dsp:sp>
    <dsp:sp modelId="{800137A5-6EA6-4198-918D-C2314F45A763}">
      <dsp:nvSpPr>
        <dsp:cNvPr id="0" name=""/>
        <dsp:cNvSpPr/>
      </dsp:nvSpPr>
      <dsp:spPr>
        <a:xfrm>
          <a:off x="3299851" y="1014355"/>
          <a:ext cx="2363209" cy="19491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Train and Certify Employee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Update Competency Matrix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Assess effectiveness </a:t>
          </a:r>
        </a:p>
      </dsp:txBody>
      <dsp:txXfrm>
        <a:off x="3344706" y="1476886"/>
        <a:ext cx="2273499" cy="1441768"/>
      </dsp:txXfrm>
    </dsp:sp>
    <dsp:sp modelId="{A374F020-29D3-4054-90E2-A1BAA649F192}">
      <dsp:nvSpPr>
        <dsp:cNvPr id="0" name=""/>
        <dsp:cNvSpPr/>
      </dsp:nvSpPr>
      <dsp:spPr>
        <a:xfrm>
          <a:off x="4587104" y="-219523"/>
          <a:ext cx="3020186" cy="3020186"/>
        </a:xfrm>
        <a:prstGeom prst="circularArrow">
          <a:avLst>
            <a:gd name="adj1" fmla="val 3207"/>
            <a:gd name="adj2" fmla="val 395200"/>
            <a:gd name="adj3" fmla="val 19429289"/>
            <a:gd name="adj4" fmla="val 12575511"/>
            <a:gd name="adj5" fmla="val 374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5C657E-A556-4F69-80CC-2B9BDC89B9FF}">
      <dsp:nvSpPr>
        <dsp:cNvPr id="0" name=""/>
        <dsp:cNvSpPr/>
      </dsp:nvSpPr>
      <dsp:spPr>
        <a:xfrm>
          <a:off x="3825009" y="596679"/>
          <a:ext cx="2100630" cy="835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Step 2: Improve and Measure</a:t>
          </a:r>
        </a:p>
      </dsp:txBody>
      <dsp:txXfrm>
        <a:off x="3849476" y="621146"/>
        <a:ext cx="2051696" cy="786417"/>
      </dsp:txXfrm>
    </dsp:sp>
    <dsp:sp modelId="{EB292DAC-A85F-4153-9B40-30804FDD2F75}">
      <dsp:nvSpPr>
        <dsp:cNvPr id="0" name=""/>
        <dsp:cNvSpPr/>
      </dsp:nvSpPr>
      <dsp:spPr>
        <a:xfrm>
          <a:off x="6386914" y="1014355"/>
          <a:ext cx="2363209" cy="194915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1" kern="1200"/>
            <a:t>Access to Trainers &amp; FSEs</a:t>
          </a:r>
        </a:p>
      </dsp:txBody>
      <dsp:txXfrm>
        <a:off x="6431769" y="1059210"/>
        <a:ext cx="2273499" cy="1441768"/>
      </dsp:txXfrm>
    </dsp:sp>
    <dsp:sp modelId="{990D0E7D-D1FF-4AA7-9329-429D004D3C3A}">
      <dsp:nvSpPr>
        <dsp:cNvPr id="0" name=""/>
        <dsp:cNvSpPr/>
      </dsp:nvSpPr>
      <dsp:spPr>
        <a:xfrm>
          <a:off x="6889637" y="2545833"/>
          <a:ext cx="2100630" cy="8353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" tIns="13970" rIns="20955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/>
            <a:t>Step 3: Post Training Support</a:t>
          </a:r>
        </a:p>
      </dsp:txBody>
      <dsp:txXfrm>
        <a:off x="6914104" y="2570300"/>
        <a:ext cx="2051696" cy="78641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73F13A-E441-4602-BD18-B26C09F8AB22}">
      <dsp:nvSpPr>
        <dsp:cNvPr id="0" name=""/>
        <dsp:cNvSpPr/>
      </dsp:nvSpPr>
      <dsp:spPr>
        <a:xfrm rot="5400000">
          <a:off x="941065" y="992907"/>
          <a:ext cx="1713301" cy="285089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7DB97-C9E5-47D1-B86E-18BA472CAFA2}">
      <dsp:nvSpPr>
        <dsp:cNvPr id="0" name=""/>
        <dsp:cNvSpPr/>
      </dsp:nvSpPr>
      <dsp:spPr>
        <a:xfrm>
          <a:off x="655072" y="1844710"/>
          <a:ext cx="2573804" cy="2256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Level1</a:t>
          </a:r>
        </a:p>
      </dsp:txBody>
      <dsp:txXfrm>
        <a:off x="655072" y="1844710"/>
        <a:ext cx="2573804" cy="2256090"/>
      </dsp:txXfrm>
    </dsp:sp>
    <dsp:sp modelId="{C106AB9A-70C7-41C0-A3B9-BAC695FE4023}">
      <dsp:nvSpPr>
        <dsp:cNvPr id="0" name=""/>
        <dsp:cNvSpPr/>
      </dsp:nvSpPr>
      <dsp:spPr>
        <a:xfrm>
          <a:off x="2743253" y="783021"/>
          <a:ext cx="485623" cy="485623"/>
        </a:xfrm>
        <a:prstGeom prst="triangle">
          <a:avLst>
            <a:gd name="adj" fmla="val 100000"/>
          </a:avLst>
        </a:prstGeom>
        <a:solidFill>
          <a:schemeClr val="accent1">
            <a:shade val="50000"/>
            <a:hueOff val="75365"/>
            <a:satOff val="-6805"/>
            <a:lumOff val="18441"/>
            <a:alphaOff val="0"/>
          </a:schemeClr>
        </a:solidFill>
        <a:ln w="12700" cap="flat" cmpd="sng" algn="ctr">
          <a:solidFill>
            <a:schemeClr val="accent1">
              <a:shade val="50000"/>
              <a:hueOff val="75365"/>
              <a:satOff val="-6805"/>
              <a:lumOff val="184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214266B-B788-462D-BACB-A80AB34FBA86}">
      <dsp:nvSpPr>
        <dsp:cNvPr id="0" name=""/>
        <dsp:cNvSpPr/>
      </dsp:nvSpPr>
      <dsp:spPr>
        <a:xfrm rot="5400000">
          <a:off x="4091904" y="213228"/>
          <a:ext cx="1713301" cy="285089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shade val="50000"/>
            <a:hueOff val="150729"/>
            <a:satOff val="-13610"/>
            <a:lumOff val="36882"/>
            <a:alphaOff val="0"/>
          </a:schemeClr>
        </a:solidFill>
        <a:ln w="12700" cap="flat" cmpd="sng" algn="ctr">
          <a:solidFill>
            <a:schemeClr val="accent1">
              <a:shade val="50000"/>
              <a:hueOff val="150729"/>
              <a:satOff val="-13610"/>
              <a:lumOff val="368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BF1BF-B471-47F8-8BB1-4FF9D563E5E8}">
      <dsp:nvSpPr>
        <dsp:cNvPr id="0" name=""/>
        <dsp:cNvSpPr/>
      </dsp:nvSpPr>
      <dsp:spPr>
        <a:xfrm>
          <a:off x="3805912" y="1065032"/>
          <a:ext cx="2573804" cy="2256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Level2</a:t>
          </a:r>
        </a:p>
      </dsp:txBody>
      <dsp:txXfrm>
        <a:off x="3805912" y="1065032"/>
        <a:ext cx="2573804" cy="2256090"/>
      </dsp:txXfrm>
    </dsp:sp>
    <dsp:sp modelId="{A7D2DE00-2AAC-4F18-8FC3-B8A0CF712CA8}">
      <dsp:nvSpPr>
        <dsp:cNvPr id="0" name=""/>
        <dsp:cNvSpPr/>
      </dsp:nvSpPr>
      <dsp:spPr>
        <a:xfrm>
          <a:off x="5894093" y="3342"/>
          <a:ext cx="485623" cy="485623"/>
        </a:xfrm>
        <a:prstGeom prst="triangle">
          <a:avLst>
            <a:gd name="adj" fmla="val 100000"/>
          </a:avLst>
        </a:prstGeom>
        <a:solidFill>
          <a:schemeClr val="accent1">
            <a:shade val="50000"/>
            <a:hueOff val="150729"/>
            <a:satOff val="-13610"/>
            <a:lumOff val="36882"/>
            <a:alphaOff val="0"/>
          </a:schemeClr>
        </a:solidFill>
        <a:ln w="12700" cap="flat" cmpd="sng" algn="ctr">
          <a:solidFill>
            <a:schemeClr val="accent1">
              <a:shade val="50000"/>
              <a:hueOff val="150729"/>
              <a:satOff val="-13610"/>
              <a:lumOff val="3688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78C709F-2C1A-4C06-AE8E-66D5650439BB}">
      <dsp:nvSpPr>
        <dsp:cNvPr id="0" name=""/>
        <dsp:cNvSpPr/>
      </dsp:nvSpPr>
      <dsp:spPr>
        <a:xfrm rot="5400000">
          <a:off x="7242744" y="-566449"/>
          <a:ext cx="1713301" cy="2850895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shade val="50000"/>
            <a:hueOff val="75365"/>
            <a:satOff val="-6805"/>
            <a:lumOff val="18441"/>
            <a:alphaOff val="0"/>
          </a:schemeClr>
        </a:solidFill>
        <a:ln w="12700" cap="flat" cmpd="sng" algn="ctr">
          <a:solidFill>
            <a:schemeClr val="accent1">
              <a:shade val="50000"/>
              <a:hueOff val="75365"/>
              <a:satOff val="-6805"/>
              <a:lumOff val="184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3464F8-78B8-40FB-805E-A8A41D2BF118}">
      <dsp:nvSpPr>
        <dsp:cNvPr id="0" name=""/>
        <dsp:cNvSpPr/>
      </dsp:nvSpPr>
      <dsp:spPr>
        <a:xfrm>
          <a:off x="6956752" y="285353"/>
          <a:ext cx="2573804" cy="22560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t" anchorCtr="0">
          <a:noAutofit/>
        </a:bodyPr>
        <a:lstStyle/>
        <a:p>
          <a:pPr marL="0" lvl="0" indent="0" algn="l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Level3</a:t>
          </a:r>
        </a:p>
      </dsp:txBody>
      <dsp:txXfrm>
        <a:off x="6956752" y="285353"/>
        <a:ext cx="2573804" cy="22560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8EAFF2-7B08-44EE-B6E9-EBEEDBAA650B}" type="datetimeFigureOut">
              <a:rPr lang="en-US" smtClean="0"/>
              <a:t>4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2E6C6-CE33-4BDF-987D-3395223A8F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7863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April 23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079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April 23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843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5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8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4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62452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313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343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3278016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8683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075694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148021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2244612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April 23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568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18805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57051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88408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6006975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777231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8623404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878099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0922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556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2581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CABE2306-64B2-4E76-99C5-2A47454E6DC8}" type="datetime4">
              <a:rPr lang="en-US" smtClean="0"/>
              <a:t>April 23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413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3456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560886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26048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6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78855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8871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05611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053941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47907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4516170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6600" b="1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852558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1066801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fld id="{933D8C16-F92E-42E4-A695-CFC4867433E8}" type="datetime4">
              <a:rPr lang="en-US" smtClean="0"/>
              <a:t>April 23, 2024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046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mple Text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13784" y="6364288"/>
            <a:ext cx="11978216" cy="493712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6" name="Round Single Corner Rectangle 5"/>
          <p:cNvSpPr/>
          <p:nvPr userDrawn="1"/>
        </p:nvSpPr>
        <p:spPr>
          <a:xfrm>
            <a:off x="0" y="6364292"/>
            <a:ext cx="11584517" cy="504825"/>
          </a:xfrm>
          <a:prstGeom prst="round1Rect">
            <a:avLst>
              <a:gd name="adj" fmla="val 50000"/>
            </a:avLst>
          </a:prstGeom>
          <a:solidFill>
            <a:schemeClr val="tx2"/>
          </a:solidFill>
          <a:ln w="19050" cmpd="sng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207436" y="6149978"/>
            <a:ext cx="109196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457178">
              <a:defRPr/>
            </a:pPr>
            <a:r>
              <a:rPr lang="en-US" altLang="en-US" sz="700" b="0">
                <a:solidFill>
                  <a:srgbClr val="707070"/>
                </a:solidFill>
                <a:cs typeface="Arial" panose="020B0604020202020204" pitchFamily="34" charset="0"/>
              </a:rPr>
              <a:t>Honeywell Confidential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75999" y="1080000"/>
            <a:ext cx="10800000" cy="5076000"/>
          </a:xfrm>
          <a:prstGeom prst="rect">
            <a:avLst/>
          </a:prstGeom>
        </p:spPr>
        <p:txBody>
          <a:bodyPr>
            <a:normAutofit/>
          </a:bodyPr>
          <a:lstStyle>
            <a:lvl2pPr marL="457178" indent="-169856">
              <a:defRPr/>
            </a:lvl2pPr>
            <a:lvl3pPr marL="804824" indent="-177792">
              <a:defRPr/>
            </a:lvl3pPr>
            <a:lvl4pPr marL="1201679" indent="-168266">
              <a:buClr>
                <a:schemeClr val="tx1">
                  <a:lumMod val="50000"/>
                  <a:lumOff val="50000"/>
                </a:schemeClr>
              </a:buClr>
              <a:buFontTx/>
              <a:buChar char="-"/>
              <a:defRPr sz="1400"/>
            </a:lvl4pPr>
            <a:lvl5pPr marL="1719178" indent="-177792">
              <a:buClr>
                <a:schemeClr val="tx1">
                  <a:lumMod val="50000"/>
                  <a:lumOff val="50000"/>
                </a:schemeClr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15384" y="6384611"/>
            <a:ext cx="11063816" cy="4572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5904" y="5"/>
            <a:ext cx="675217" cy="504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100" b="1" i="0">
                <a:solidFill>
                  <a:schemeClr val="bg1"/>
                </a:solidFill>
                <a:latin typeface="HelveticaNeue MediumCond"/>
                <a:cs typeface="HelveticaNeue MediumCond"/>
              </a:defRPr>
            </a:lvl1pPr>
          </a:lstStyle>
          <a:p>
            <a:pPr>
              <a:defRPr/>
            </a:pPr>
            <a:fld id="{58E27D68-75D7-1046-B88F-55C44A5ED9A6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6000" y="360000"/>
            <a:ext cx="11052000" cy="48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2091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3462643"/>
      </p:ext>
    </p:extLst>
  </p:cSld>
  <p:clrMapOvr>
    <a:masterClrMapping/>
  </p:clrMapOvr>
  <p:transition>
    <p:wipe dir="r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2" imgH="572" progId="TCLayout.ActiveDocument.1">
                  <p:embed/>
                </p:oleObj>
              </mc:Choice>
              <mc:Fallback>
                <p:oleObj name="think-cell Slide" r:id="rId3" imgW="572" imgH="5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3232" y="356616"/>
            <a:ext cx="10648757" cy="498610"/>
          </a:xfrm>
        </p:spPr>
        <p:txBody>
          <a:bodyPr rIns="91440"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731520" y="1188720"/>
            <a:ext cx="10780747" cy="5029200"/>
          </a:xfrm>
          <a:prstGeom prst="rect">
            <a:avLst/>
          </a:prstGeom>
        </p:spPr>
        <p:txBody>
          <a:bodyPr/>
          <a:lstStyle>
            <a:lvl1pPr marL="182880" indent="-182880"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defRPr>
                <a:solidFill>
                  <a:schemeClr val="tx1"/>
                </a:solidFill>
              </a:defRPr>
            </a:lvl1pPr>
            <a:lvl2pPr marL="4572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marL="6400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marL="91440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97280" indent="-18288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643360" y="0"/>
            <a:ext cx="548640" cy="5029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C380C9-3062-4F1D-A521-BEC000498A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928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211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8382000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0329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71752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157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350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76E561D-B12E-4CF1-A451-440AB1167B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08400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70" imgH="469" progId="TCLayout.ActiveDocument.1">
                  <p:embed/>
                </p:oleObj>
              </mc:Choice>
              <mc:Fallback>
                <p:oleObj name="think-cell Slide" r:id="rId46" imgW="470" imgH="46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76E561D-B12E-4CF1-A451-440AB1167B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52AD90-3448-4A36-8E9B-8DDE09EA0555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4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0228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3" r:id="rId40"/>
    <p:sldLayoutId id="2147483714" r:id="rId41"/>
    <p:sldLayoutId id="2147483715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Honeywell Sans" panose="02010503040101060203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1000"/>
        </a:spcAft>
        <a:buFont typeface="Arial" panose="020B0604020202020204" pitchFamily="34" charset="0"/>
        <a:buNone/>
        <a:defRPr sz="2400" b="1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9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Relationship Id="rId9" Type="http://schemas.openxmlformats.org/officeDocument/2006/relationships/image" Target="../media/image33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35.png"/><Relationship Id="rId7" Type="http://schemas.openxmlformats.org/officeDocument/2006/relationships/image" Target="../media/image16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6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0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9.em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5.svg"/><Relationship Id="rId7" Type="http://schemas.openxmlformats.org/officeDocument/2006/relationships/image" Target="../media/image21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0.png"/><Relationship Id="rId5" Type="http://schemas.openxmlformats.org/officeDocument/2006/relationships/image" Target="../media/image17.svg"/><Relationship Id="rId10" Type="http://schemas.openxmlformats.org/officeDocument/2006/relationships/image" Target="../media/image23.png"/><Relationship Id="rId4" Type="http://schemas.openxmlformats.org/officeDocument/2006/relationships/image" Target="../media/image16.png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015CCE7-1F23-F76B-80B1-11179E0D34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/>
          <a:lstStyle/>
          <a:p>
            <a:r>
              <a:rPr lang="en-US" dirty="0"/>
              <a:t>PMC COMPETENCY PROGRAM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22768FA-109F-7DFE-2DFB-0F2FFD2687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8382000" cy="125730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EE65BF-7789-CDD3-FD67-95CCEA078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1</a:t>
            </a:fld>
            <a:endParaRPr lang="en-US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31A01358-BF53-FD03-3A6B-FA2088163F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33" b="28933"/>
          <a:stretch/>
        </p:blipFill>
        <p:spPr bwMode="auto">
          <a:xfrm>
            <a:off x="20" y="10"/>
            <a:ext cx="12191980" cy="3428990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5910701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58AD6E-5AC9-8037-0BA8-FA80CEF0FA6B}"/>
              </a:ext>
            </a:extLst>
          </p:cNvPr>
          <p:cNvSpPr/>
          <p:nvPr/>
        </p:nvSpPr>
        <p:spPr>
          <a:xfrm>
            <a:off x="495298" y="1579398"/>
            <a:ext cx="11296651" cy="4137809"/>
          </a:xfrm>
          <a:prstGeom prst="rect">
            <a:avLst/>
          </a:prstGeom>
          <a:solidFill>
            <a:schemeClr val="accent6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9A896A-E479-2435-9BDA-69132A2F9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 &amp; meas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FAE46-BE7B-3858-1D2A-BA02A07B2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0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6D51D-B9FC-216E-8384-6AF69FB14B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Update Competency Matrix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3F6AFB-8C07-8030-C144-7FCE9283B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160" y="1674173"/>
            <a:ext cx="2176897" cy="34830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165CBE-E01F-13B2-C262-04FE621618A0}"/>
              </a:ext>
            </a:extLst>
          </p:cNvPr>
          <p:cNvSpPr/>
          <p:nvPr/>
        </p:nvSpPr>
        <p:spPr>
          <a:xfrm>
            <a:off x="564745" y="5267584"/>
            <a:ext cx="2413726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line -Questionnaire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21994D5-0D2E-4324-A3B3-26554F51E787}"/>
              </a:ext>
            </a:extLst>
          </p:cNvPr>
          <p:cNvGraphicFramePr/>
          <p:nvPr/>
        </p:nvGraphicFramePr>
        <p:xfrm>
          <a:off x="3749040" y="1570634"/>
          <a:ext cx="4236720" cy="3856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01933B7-655A-F92A-B539-908DDF225477}"/>
              </a:ext>
            </a:extLst>
          </p:cNvPr>
          <p:cNvSpPr/>
          <p:nvPr/>
        </p:nvSpPr>
        <p:spPr>
          <a:xfrm>
            <a:off x="9196771" y="5093936"/>
            <a:ext cx="184697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urrent Skill Level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E203F86-0D06-3E88-D3B8-6ACD1C83FC33}"/>
              </a:ext>
            </a:extLst>
          </p:cNvPr>
          <p:cNvSpPr/>
          <p:nvPr/>
        </p:nvSpPr>
        <p:spPr>
          <a:xfrm>
            <a:off x="4281289" y="5147732"/>
            <a:ext cx="238078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kill Mapping &amp; Review 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DDC6EC-AB32-1B85-C2D3-19A870F84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9262" y="2427938"/>
            <a:ext cx="2654623" cy="175820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38EC7027-3A72-D753-647F-C2D2305B0AAC}"/>
              </a:ext>
            </a:extLst>
          </p:cNvPr>
          <p:cNvGrpSpPr/>
          <p:nvPr/>
        </p:nvGrpSpPr>
        <p:grpSpPr>
          <a:xfrm>
            <a:off x="10027047" y="39524"/>
            <a:ext cx="2100630" cy="835351"/>
            <a:chOff x="3825009" y="596679"/>
            <a:chExt cx="2100630" cy="835351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0030B834-763B-772F-6039-D0AFFD44587C}"/>
                </a:ext>
              </a:extLst>
            </p:cNvPr>
            <p:cNvSpPr/>
            <p:nvPr/>
          </p:nvSpPr>
          <p:spPr>
            <a:xfrm>
              <a:off x="3825009" y="596679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1" name="Rectangle: Rounded Corners 4">
              <a:extLst>
                <a:ext uri="{FF2B5EF4-FFF2-40B4-BE49-F238E27FC236}">
                  <a16:creationId xmlns:a16="http://schemas.microsoft.com/office/drawing/2014/main" id="{28E8F81A-2CE3-ECB3-52B1-A70B969F159D}"/>
                </a:ext>
              </a:extLst>
            </p:cNvPr>
            <p:cNvSpPr txBox="1"/>
            <p:nvPr/>
          </p:nvSpPr>
          <p:spPr>
            <a:xfrm>
              <a:off x="3849476" y="621146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/>
                <a:t>Step 2: Improve and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788001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7864D2-EEDF-7220-5E04-38CB96497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SS TO EXPER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00629B-E985-738C-CFFE-2E8D4EE20C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543DC0-E751-4A35-3FBF-64E51A4E1A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Various modes of support offered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F7447E-0347-33CA-B995-ECCF69993957}"/>
              </a:ext>
            </a:extLst>
          </p:cNvPr>
          <p:cNvGrpSpPr/>
          <p:nvPr/>
        </p:nvGrpSpPr>
        <p:grpSpPr>
          <a:xfrm>
            <a:off x="10008210" y="77624"/>
            <a:ext cx="2100630" cy="835351"/>
            <a:chOff x="6889637" y="2545833"/>
            <a:chExt cx="2100630" cy="835351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5F5F45E5-6327-ECC6-F4C7-1908507B0F65}"/>
                </a:ext>
              </a:extLst>
            </p:cNvPr>
            <p:cNvSpPr/>
            <p:nvPr/>
          </p:nvSpPr>
          <p:spPr>
            <a:xfrm>
              <a:off x="6889637" y="2545833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8" name="Rectangle: Rounded Corners 4">
              <a:extLst>
                <a:ext uri="{FF2B5EF4-FFF2-40B4-BE49-F238E27FC236}">
                  <a16:creationId xmlns:a16="http://schemas.microsoft.com/office/drawing/2014/main" id="{F166AAE5-98D5-0528-0B98-E4484A53DB28}"/>
                </a:ext>
              </a:extLst>
            </p:cNvPr>
            <p:cNvSpPr txBox="1"/>
            <p:nvPr/>
          </p:nvSpPr>
          <p:spPr>
            <a:xfrm>
              <a:off x="6914104" y="2570300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/>
                <a:t>Step 3: Post Training Support</a:t>
              </a:r>
            </a:p>
          </p:txBody>
        </p:sp>
      </p:grpSp>
      <p:pic>
        <p:nvPicPr>
          <p:cNvPr id="10" name="Graphic 9" descr="Email outline">
            <a:extLst>
              <a:ext uri="{FF2B5EF4-FFF2-40B4-BE49-F238E27FC236}">
                <a16:creationId xmlns:a16="http://schemas.microsoft.com/office/drawing/2014/main" id="{800338EC-95DF-61AF-8054-969FC77CBC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82097" y="2437155"/>
            <a:ext cx="1145485" cy="1145485"/>
          </a:xfrm>
          <a:prstGeom prst="rect">
            <a:avLst/>
          </a:prstGeom>
        </p:spPr>
      </p:pic>
      <p:pic>
        <p:nvPicPr>
          <p:cNvPr id="12" name="Graphic 11" descr="Call center outline">
            <a:extLst>
              <a:ext uri="{FF2B5EF4-FFF2-40B4-BE49-F238E27FC236}">
                <a16:creationId xmlns:a16="http://schemas.microsoft.com/office/drawing/2014/main" id="{F3370808-2FA5-2761-4136-81587CA8FE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93221" y="2290378"/>
            <a:ext cx="1251386" cy="1251386"/>
          </a:xfrm>
          <a:prstGeom prst="rect">
            <a:avLst/>
          </a:prstGeom>
        </p:spPr>
      </p:pic>
      <p:pic>
        <p:nvPicPr>
          <p:cNvPr id="14" name="Graphic 13" descr="Online meeting outline">
            <a:extLst>
              <a:ext uri="{FF2B5EF4-FFF2-40B4-BE49-F238E27FC236}">
                <a16:creationId xmlns:a16="http://schemas.microsoft.com/office/drawing/2014/main" id="{7ACD5CD5-46B8-AA46-6CFC-0442987B5F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44607" y="2269670"/>
            <a:ext cx="1550504" cy="1550504"/>
          </a:xfrm>
          <a:prstGeom prst="rect">
            <a:avLst/>
          </a:prstGeom>
        </p:spPr>
      </p:pic>
      <p:pic>
        <p:nvPicPr>
          <p:cNvPr id="16" name="Graphic 15" descr="Meeting outline">
            <a:extLst>
              <a:ext uri="{FF2B5EF4-FFF2-40B4-BE49-F238E27FC236}">
                <a16:creationId xmlns:a16="http://schemas.microsoft.com/office/drawing/2014/main" id="{D6E63AED-6881-CAEC-3440-28030EC7910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807737" y="2376282"/>
            <a:ext cx="1251386" cy="1251386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A67D9A2-777F-61D0-AD3D-BB6B09D95AF4}"/>
              </a:ext>
            </a:extLst>
          </p:cNvPr>
          <p:cNvSpPr/>
          <p:nvPr/>
        </p:nvSpPr>
        <p:spPr>
          <a:xfrm>
            <a:off x="4014950" y="3716048"/>
            <a:ext cx="2803973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mote Suppo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EF7AF6B-3631-16F8-7E9A-DC552E3CA5B8}"/>
              </a:ext>
            </a:extLst>
          </p:cNvPr>
          <p:cNvSpPr/>
          <p:nvPr/>
        </p:nvSpPr>
        <p:spPr>
          <a:xfrm>
            <a:off x="928479" y="3820174"/>
            <a:ext cx="108395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mai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D4A584A-B6F2-A835-7212-8F49D96035D9}"/>
              </a:ext>
            </a:extLst>
          </p:cNvPr>
          <p:cNvSpPr/>
          <p:nvPr/>
        </p:nvSpPr>
        <p:spPr>
          <a:xfrm>
            <a:off x="8298780" y="3670673"/>
            <a:ext cx="270298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et in Person</a:t>
            </a:r>
          </a:p>
        </p:txBody>
      </p:sp>
    </p:spTree>
    <p:extLst>
      <p:ext uri="{BB962C8B-B14F-4D97-AF65-F5344CB8AC3E}">
        <p14:creationId xmlns:p14="http://schemas.microsoft.com/office/powerpoint/2010/main" val="1424788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2BA1E8-262B-5178-F8C1-FFD6E1F971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Y PROGRAM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089636-70A0-38B8-1BB9-8FA1E9BFA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E832E2-F07C-D54F-935B-7EEA77B8A3F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Continuous Learning!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4081A36-DAD8-B70A-089E-8BBF990246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9" t="23889"/>
          <a:stretch/>
        </p:blipFill>
        <p:spPr>
          <a:xfrm>
            <a:off x="4970917" y="2590237"/>
            <a:ext cx="1997799" cy="1315742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513DFEA-9796-BB31-D4FE-DB6D5EA872F2}"/>
              </a:ext>
            </a:extLst>
          </p:cNvPr>
          <p:cNvSpPr/>
          <p:nvPr/>
        </p:nvSpPr>
        <p:spPr>
          <a:xfrm>
            <a:off x="1342271" y="2548953"/>
            <a:ext cx="1021434" cy="2769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vel 1, 2,3 </a:t>
            </a:r>
          </a:p>
        </p:txBody>
      </p:sp>
      <p:pic>
        <p:nvPicPr>
          <p:cNvPr id="15" name="Graphic 14" descr="Clipboard Partially Crossed outline">
            <a:extLst>
              <a:ext uri="{FF2B5EF4-FFF2-40B4-BE49-F238E27FC236}">
                <a16:creationId xmlns:a16="http://schemas.microsoft.com/office/drawing/2014/main" id="{E5DC07F7-3807-57DF-0A46-78545BA2D3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18684" y="2576138"/>
            <a:ext cx="1529534" cy="1529534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1FE21FD-E143-6D64-539F-3553BFFAE3CE}"/>
              </a:ext>
            </a:extLst>
          </p:cNvPr>
          <p:cNvSpPr/>
          <p:nvPr/>
        </p:nvSpPr>
        <p:spPr>
          <a:xfrm>
            <a:off x="199081" y="4267389"/>
            <a:ext cx="281204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raining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2EF92E1-10A7-F78C-4D86-8B849E8B1318}"/>
              </a:ext>
            </a:extLst>
          </p:cNvPr>
          <p:cNvSpPr/>
          <p:nvPr/>
        </p:nvSpPr>
        <p:spPr>
          <a:xfrm>
            <a:off x="9688550" y="4232400"/>
            <a:ext cx="1359668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ssessment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1104EC-6546-E73B-A247-3912E54C72A4}"/>
              </a:ext>
            </a:extLst>
          </p:cNvPr>
          <p:cNvSpPr/>
          <p:nvPr/>
        </p:nvSpPr>
        <p:spPr>
          <a:xfrm>
            <a:off x="4563794" y="4175142"/>
            <a:ext cx="2812044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mplement </a:t>
            </a:r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he learning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A24504E3-E75C-0FF5-3A17-14DA533F871D}"/>
              </a:ext>
            </a:extLst>
          </p:cNvPr>
          <p:cNvGrpSpPr/>
          <p:nvPr/>
        </p:nvGrpSpPr>
        <p:grpSpPr>
          <a:xfrm>
            <a:off x="636679" y="2278651"/>
            <a:ext cx="1997800" cy="1979141"/>
            <a:chOff x="4276725" y="1971675"/>
            <a:chExt cx="2200275" cy="2200275"/>
          </a:xfrm>
        </p:grpSpPr>
        <p:pic>
          <p:nvPicPr>
            <p:cNvPr id="20" name="Graphic 19" descr="Classroom outline">
              <a:extLst>
                <a:ext uri="{FF2B5EF4-FFF2-40B4-BE49-F238E27FC236}">
                  <a16:creationId xmlns:a16="http://schemas.microsoft.com/office/drawing/2014/main" id="{479E0B4D-F880-E0C5-A4E4-E7C9D02D6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276725" y="1971675"/>
              <a:ext cx="2200275" cy="2200275"/>
            </a:xfrm>
            <a:prstGeom prst="rect">
              <a:avLst/>
            </a:prstGeom>
          </p:spPr>
        </p:pic>
        <p:pic>
          <p:nvPicPr>
            <p:cNvPr id="21" name="Graphic 20" descr="User with solid fill">
              <a:extLst>
                <a:ext uri="{FF2B5EF4-FFF2-40B4-BE49-F238E27FC236}">
                  <a16:creationId xmlns:a16="http://schemas.microsoft.com/office/drawing/2014/main" id="{D2A1EE8A-F31D-AEDA-FE34-33BB67509E5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918118" y="3343275"/>
              <a:ext cx="619125" cy="619125"/>
            </a:xfrm>
            <a:prstGeom prst="rect">
              <a:avLst/>
            </a:prstGeom>
          </p:spPr>
        </p:pic>
        <p:pic>
          <p:nvPicPr>
            <p:cNvPr id="22" name="Graphic 21" descr="User with solid fill">
              <a:extLst>
                <a:ext uri="{FF2B5EF4-FFF2-40B4-BE49-F238E27FC236}">
                  <a16:creationId xmlns:a16="http://schemas.microsoft.com/office/drawing/2014/main" id="{F8CBDE23-C944-369D-47B6-16D886BE23B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76862" y="3343275"/>
              <a:ext cx="619125" cy="619125"/>
            </a:xfrm>
            <a:prstGeom prst="rect">
              <a:avLst/>
            </a:prstGeom>
          </p:spPr>
        </p:pic>
        <p:pic>
          <p:nvPicPr>
            <p:cNvPr id="23" name="Graphic 22" descr="User with solid fill">
              <a:extLst>
                <a:ext uri="{FF2B5EF4-FFF2-40B4-BE49-F238E27FC236}">
                  <a16:creationId xmlns:a16="http://schemas.microsoft.com/office/drawing/2014/main" id="{CEFD6674-8B64-0004-10B8-EE38155E114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834834" y="3343275"/>
              <a:ext cx="619125" cy="619125"/>
            </a:xfrm>
            <a:prstGeom prst="rect">
              <a:avLst/>
            </a:prstGeom>
          </p:spPr>
        </p:pic>
        <p:sp>
          <p:nvSpPr>
            <p:cNvPr id="3" name="AutoShape 2">
              <a:extLst>
                <a:ext uri="{FF2B5EF4-FFF2-40B4-BE49-F238E27FC236}">
                  <a16:creationId xmlns:a16="http://schemas.microsoft.com/office/drawing/2014/main" id="{1F39060F-F65B-D673-D389-2CE7A4862C0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43600" y="327660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Arrow: Bent-Up 27">
            <a:extLst>
              <a:ext uri="{FF2B5EF4-FFF2-40B4-BE49-F238E27FC236}">
                <a16:creationId xmlns:a16="http://schemas.microsoft.com/office/drawing/2014/main" id="{9871C229-14C4-4F4D-0751-BDA100E71545}"/>
              </a:ext>
            </a:extLst>
          </p:cNvPr>
          <p:cNvSpPr/>
          <p:nvPr/>
        </p:nvSpPr>
        <p:spPr>
          <a:xfrm flipH="1" flipV="1">
            <a:off x="1852987" y="1750016"/>
            <a:ext cx="8412480" cy="439180"/>
          </a:xfrm>
          <a:prstGeom prst="bentUp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3D92C6E-A0F3-53A2-E72F-4385DFED369A}"/>
              </a:ext>
            </a:extLst>
          </p:cNvPr>
          <p:cNvSpPr/>
          <p:nvPr/>
        </p:nvSpPr>
        <p:spPr>
          <a:xfrm>
            <a:off x="10190983" y="1789186"/>
            <a:ext cx="92468" cy="53757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4CA0087-2391-5AD9-61AF-D8B160FCFBC4}"/>
              </a:ext>
            </a:extLst>
          </p:cNvPr>
          <p:cNvSpPr/>
          <p:nvPr/>
        </p:nvSpPr>
        <p:spPr>
          <a:xfrm>
            <a:off x="721507" y="4972253"/>
            <a:ext cx="10241280" cy="375071"/>
          </a:xfrm>
          <a:prstGeom prst="rect">
            <a:avLst/>
          </a:prstGeom>
          <a:solidFill>
            <a:schemeClr val="accent6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Connect with Expert</a:t>
            </a: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9EA1DD07-4DA0-AA8B-45DA-D28D424FA19F}"/>
              </a:ext>
            </a:extLst>
          </p:cNvPr>
          <p:cNvSpPr/>
          <p:nvPr/>
        </p:nvSpPr>
        <p:spPr>
          <a:xfrm>
            <a:off x="3134221" y="2945553"/>
            <a:ext cx="1188720" cy="237992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1E18064-061E-4899-F508-A13813CF0743}"/>
              </a:ext>
            </a:extLst>
          </p:cNvPr>
          <p:cNvSpPr/>
          <p:nvPr/>
        </p:nvSpPr>
        <p:spPr>
          <a:xfrm>
            <a:off x="3837197" y="1340737"/>
            <a:ext cx="373519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earn, Implement, Assess &amp; Connect! </a:t>
            </a:r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A37EC705-39D7-B2F3-F097-9CDF92517F00}"/>
              </a:ext>
            </a:extLst>
          </p:cNvPr>
          <p:cNvSpPr/>
          <p:nvPr/>
        </p:nvSpPr>
        <p:spPr>
          <a:xfrm>
            <a:off x="7572387" y="2983917"/>
            <a:ext cx="1188720" cy="237992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0981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3AB599-5F3B-C67F-82E1-BEFED6EBB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HONEYWELL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7705E49-F551-E458-5A42-87882511285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Program shall cover all Honeywell products (PMC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ime bound and measurable - Outcome based training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Learning platform </a:t>
            </a:r>
            <a:r>
              <a:rPr lang="en-US" sz="2400" b="0" dirty="0">
                <a:solidFill>
                  <a:srgbClr val="000000"/>
                </a:solidFill>
                <a:latin typeface="Arial" panose="020B0604020202020204" pitchFamily="34" charset="0"/>
              </a:rPr>
              <a:t>is Agile</a:t>
            </a:r>
            <a:endParaRPr lang="en-US" sz="2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Experienced field representatives shall be the trai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rgbClr val="000000"/>
                </a:solidFill>
                <a:latin typeface="Arial" panose="020B0604020202020204" pitchFamily="34" charset="0"/>
              </a:rPr>
              <a:t>P</a:t>
            </a: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rovides effective/dynamic practical session with the involvement of field service team as train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/>
              <a:t>Flexible post training support op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oneywell Framework is flexible to Build your own Training Pro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AA7AAE-C20F-018F-4322-7F39880CE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3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56230CB-14CA-9BF7-FBC0-1C2EEDE9C9F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vest on Competency, Increase the Productivity</a:t>
            </a:r>
          </a:p>
        </p:txBody>
      </p:sp>
    </p:spTree>
    <p:extLst>
      <p:ext uri="{BB962C8B-B14F-4D97-AF65-F5344CB8AC3E}">
        <p14:creationId xmlns:p14="http://schemas.microsoft.com/office/powerpoint/2010/main" val="35620608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7DED6602-1A35-3034-C001-0F55F65AE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91D7DF7-5DAF-D276-7471-05C66A11F3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4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2C5CDD9-70E3-B389-2400-77ACDE79B105}"/>
              </a:ext>
            </a:extLst>
          </p:cNvPr>
          <p:cNvSpPr txBox="1"/>
          <p:nvPr/>
        </p:nvSpPr>
        <p:spPr>
          <a:xfrm>
            <a:off x="635794" y="3119608"/>
            <a:ext cx="109204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E DELIVER INCREASINGLY ACCURATE, PREDICTABLE, AND EFFICIENT BUSINESS OUTCOMES FOR OUR CUSTOMERS ACROSS SAFETY, SUSTAINABILITY, AND ASSET PERFORMANCE</a:t>
            </a:r>
            <a:endParaRPr lang="en-US" sz="3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8068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5E7AF33-F241-9579-4DE2-029EF9A15C8C}"/>
              </a:ext>
            </a:extLst>
          </p:cNvPr>
          <p:cNvSpPr/>
          <p:nvPr/>
        </p:nvSpPr>
        <p:spPr>
          <a:xfrm>
            <a:off x="495299" y="1210918"/>
            <a:ext cx="2870421" cy="4337436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9A0BFD-1DA6-2204-8B56-47897BB1D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orce challeng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9AB6FA-F321-98D9-1205-B00C41A12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37B508-90F9-1992-3063-69DAFFE0B2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LOSS OF PRODUCTIVITY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CD26B4C-6626-679A-F49E-3FF2EDC830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9136183"/>
              </p:ext>
            </p:extLst>
          </p:nvPr>
        </p:nvGraphicFramePr>
        <p:xfrm>
          <a:off x="5005557" y="1222182"/>
          <a:ext cx="4625790" cy="39279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028" name="Picture 4" descr="Image result for cost reduction clip art">
            <a:extLst>
              <a:ext uri="{FF2B5EF4-FFF2-40B4-BE49-F238E27FC236}">
                <a16:creationId xmlns:a16="http://schemas.microsoft.com/office/drawing/2014/main" id="{CECDB135-4672-A5CC-C653-7CD00EE4904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009" b="9497"/>
          <a:stretch/>
        </p:blipFill>
        <p:spPr bwMode="auto">
          <a:xfrm>
            <a:off x="695238" y="1798975"/>
            <a:ext cx="2552700" cy="181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EF642C6-F2E6-CC60-4D3E-9183482F8566}"/>
              </a:ext>
            </a:extLst>
          </p:cNvPr>
          <p:cNvSpPr/>
          <p:nvPr/>
        </p:nvSpPr>
        <p:spPr>
          <a:xfrm>
            <a:off x="1359081" y="3231310"/>
            <a:ext cx="1225014" cy="2616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1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PTIMIZATION </a:t>
            </a:r>
          </a:p>
        </p:txBody>
      </p:sp>
      <p:pic>
        <p:nvPicPr>
          <p:cNvPr id="1030" name="Picture 6" descr="Image result for dIGITIZATION CLIP ART">
            <a:extLst>
              <a:ext uri="{FF2B5EF4-FFF2-40B4-BE49-F238E27FC236}">
                <a16:creationId xmlns:a16="http://schemas.microsoft.com/office/drawing/2014/main" id="{11460E59-2690-B005-A7F7-F8DCED5BC5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8" t="29250" r="17290" b="13165"/>
          <a:stretch/>
        </p:blipFill>
        <p:spPr bwMode="auto">
          <a:xfrm>
            <a:off x="1162680" y="3854402"/>
            <a:ext cx="1421415" cy="151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5E34DA3-5050-E4F0-236D-F13A26E5B003}"/>
              </a:ext>
            </a:extLst>
          </p:cNvPr>
          <p:cNvSpPr/>
          <p:nvPr/>
        </p:nvSpPr>
        <p:spPr>
          <a:xfrm>
            <a:off x="1085736" y="1276591"/>
            <a:ext cx="1741823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ey Trends</a:t>
            </a:r>
          </a:p>
        </p:txBody>
      </p:sp>
      <p:sp>
        <p:nvSpPr>
          <p:cNvPr id="11" name="Arrow: Right 10">
            <a:extLst>
              <a:ext uri="{FF2B5EF4-FFF2-40B4-BE49-F238E27FC236}">
                <a16:creationId xmlns:a16="http://schemas.microsoft.com/office/drawing/2014/main" id="{C3CE1182-F5BB-656E-C838-E2A8B465487A}"/>
              </a:ext>
            </a:extLst>
          </p:cNvPr>
          <p:cNvSpPr/>
          <p:nvPr/>
        </p:nvSpPr>
        <p:spPr>
          <a:xfrm>
            <a:off x="3907343" y="2986046"/>
            <a:ext cx="1168842" cy="643717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7530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C8CB8-E538-2A69-A5EF-08D945B5B2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1504950"/>
          </a:xfrm>
        </p:spPr>
        <p:txBody>
          <a:bodyPr anchor="t">
            <a:normAutofit/>
          </a:bodyPr>
          <a:lstStyle/>
          <a:p>
            <a:r>
              <a:rPr lang="en-US" dirty="0"/>
              <a:t>TRADITIONAL TRAINING MODEL CHALLENGES</a:t>
            </a:r>
          </a:p>
        </p:txBody>
      </p:sp>
      <p:pic>
        <p:nvPicPr>
          <p:cNvPr id="9" name="Graphic 8" descr="Classroom outline">
            <a:extLst>
              <a:ext uri="{FF2B5EF4-FFF2-40B4-BE49-F238E27FC236}">
                <a16:creationId xmlns:a16="http://schemas.microsoft.com/office/drawing/2014/main" id="{1F964532-1501-7EBB-0210-CB1FF66274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24600" y="495300"/>
            <a:ext cx="5867400" cy="5867400"/>
          </a:xfrm>
          <a:prstGeom prst="rect">
            <a:avLst/>
          </a:prstGeom>
        </p:spPr>
      </p:pic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447FB582-F699-C779-F7B6-2909EEB9A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/>
              <a:t>Footer, Arial Bold 1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F407FB-A586-FE97-B9C7-BA55DFE2B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pic>
        <p:nvPicPr>
          <p:cNvPr id="11" name="Graphic 10" descr="User with solid fill">
            <a:extLst>
              <a:ext uri="{FF2B5EF4-FFF2-40B4-BE49-F238E27FC236}">
                <a16:creationId xmlns:a16="http://schemas.microsoft.com/office/drawing/2014/main" id="{8C1CB8C1-6954-D541-2E06-DD232C1C4C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59813" y="4105276"/>
            <a:ext cx="1724024" cy="1724024"/>
          </a:xfrm>
          <a:prstGeom prst="rect">
            <a:avLst/>
          </a:prstGeom>
        </p:spPr>
      </p:pic>
      <p:pic>
        <p:nvPicPr>
          <p:cNvPr id="12" name="Graphic 11" descr="User with solid fill">
            <a:extLst>
              <a:ext uri="{FF2B5EF4-FFF2-40B4-BE49-F238E27FC236}">
                <a16:creationId xmlns:a16="http://schemas.microsoft.com/office/drawing/2014/main" id="{10CB4C88-6809-B08D-E0B4-769896BC63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85319" y="4114801"/>
            <a:ext cx="1724024" cy="172402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59D5726-35E4-83BE-4018-00919D4DB903}"/>
              </a:ext>
            </a:extLst>
          </p:cNvPr>
          <p:cNvSpPr/>
          <p:nvPr/>
        </p:nvSpPr>
        <p:spPr>
          <a:xfrm>
            <a:off x="391126" y="2525549"/>
            <a:ext cx="6239836" cy="215129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342900" indent="-34290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Generalized </a:t>
            </a:r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</a:t>
            </a:r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aining to </a:t>
            </a:r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et all employee profiles</a:t>
            </a:r>
          </a:p>
          <a:p>
            <a:pPr marL="342900" indent="-34290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ifficult to measure the results</a:t>
            </a:r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  <a:p>
            <a:pPr marL="342900" indent="-34290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ddress Immediate Needs</a:t>
            </a:r>
            <a:endParaRPr lang="en-US" sz="20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26898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Title 1">
            <a:extLst>
              <a:ext uri="{FF2B5EF4-FFF2-40B4-BE49-F238E27FC236}">
                <a16:creationId xmlns:a16="http://schemas.microsoft.com/office/drawing/2014/main" id="{D586CD9C-17D0-4FB3-CD95-6AC0ECAFC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/>
          <a:p>
            <a:r>
              <a:rPr lang="en-US" dirty="0"/>
              <a:t>COMPETENCY PROGRAM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A8F51BF7-2713-D994-236A-4F7BEC1CEA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4" r="15991" b="1"/>
          <a:stretch/>
        </p:blipFill>
        <p:spPr bwMode="auto">
          <a:xfrm>
            <a:off x="6324600" y="10"/>
            <a:ext cx="586740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A93E676-C259-77F0-B750-7DB898C130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000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AADF79-4BC3-E011-DB35-A14A4B2FA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99755" y="6480164"/>
            <a:ext cx="496945" cy="237617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7B94EC18-1D2B-4535-B738-0E53AFE26620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231C56CE-F5DA-57B6-2578-5FCB0CDD4A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67474"/>
              </p:ext>
            </p:extLst>
          </p:nvPr>
        </p:nvGraphicFramePr>
        <p:xfrm>
          <a:off x="219074" y="1947432"/>
          <a:ext cx="4605667" cy="3433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7A23A8A-524B-2ACC-075D-9014F4853C99}"/>
              </a:ext>
            </a:extLst>
          </p:cNvPr>
          <p:cNvSpPr txBox="1">
            <a:spLocks/>
          </p:cNvSpPr>
          <p:nvPr/>
        </p:nvSpPr>
        <p:spPr>
          <a:xfrm>
            <a:off x="457201" y="5867401"/>
            <a:ext cx="5867400" cy="495299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Honeywell Sans" panose="02010503040101060203" pitchFamily="50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0375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1000"/>
              </a:spcAft>
              <a:buFont typeface="Arial" panose="020B0604020202020204" pitchFamily="34" charset="0"/>
              <a:buNone/>
              <a:defRPr sz="2400" b="1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SKILL DEVELOPMENT</a:t>
            </a:r>
          </a:p>
        </p:txBody>
      </p:sp>
    </p:spTree>
    <p:extLst>
      <p:ext uri="{BB962C8B-B14F-4D97-AF65-F5344CB8AC3E}">
        <p14:creationId xmlns:p14="http://schemas.microsoft.com/office/powerpoint/2010/main" val="834626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D9ABAA4-1464-C6E3-5ACC-D48FDCC3B2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ETENCY PROGRAM ELEMEN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147659D-518C-AAE0-A8E4-5FEF1FB21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5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BC273E-719F-895C-19F5-4DE9386ED1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oal Oriented &amp; Measurable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2C4061A1-E27A-C692-D292-77D3605BC3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3475763"/>
              </p:ext>
            </p:extLst>
          </p:nvPr>
        </p:nvGraphicFramePr>
        <p:xfrm>
          <a:off x="985309" y="1660935"/>
          <a:ext cx="9225492" cy="3977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F59077B-10F2-B8C7-8AAF-7547DAD1AC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57450" y="1052278"/>
            <a:ext cx="2283883" cy="151265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4101646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B07A664-7B21-B23E-4337-45A0CD94F017}"/>
              </a:ext>
            </a:extLst>
          </p:cNvPr>
          <p:cNvSpPr/>
          <p:nvPr/>
        </p:nvSpPr>
        <p:spPr>
          <a:xfrm>
            <a:off x="495299" y="2345308"/>
            <a:ext cx="2847976" cy="2727833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chemeClr val="accent4">
                  <a:lumMod val="97000"/>
                  <a:lumOff val="3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7887F06-7E01-C480-2730-415C5A7CB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orce SKILLS ASSES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DC873-A438-3ED0-A2A8-F49DC498A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8335729-F22C-7634-F1F8-8D925C43649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kill varies for each persona</a:t>
            </a:r>
          </a:p>
        </p:txBody>
      </p:sp>
      <p:pic>
        <p:nvPicPr>
          <p:cNvPr id="8" name="Graphic 7" descr="User with solid fill">
            <a:extLst>
              <a:ext uri="{FF2B5EF4-FFF2-40B4-BE49-F238E27FC236}">
                <a16:creationId xmlns:a16="http://schemas.microsoft.com/office/drawing/2014/main" id="{FFBFB190-A992-BA20-F243-F71BAE36E9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78679" y="3071745"/>
            <a:ext cx="974637" cy="974637"/>
          </a:xfrm>
          <a:prstGeom prst="rect">
            <a:avLst/>
          </a:prstGeom>
        </p:spPr>
      </p:pic>
      <p:pic>
        <p:nvPicPr>
          <p:cNvPr id="9" name="Graphic 8" descr="User with solid fill">
            <a:extLst>
              <a:ext uri="{FF2B5EF4-FFF2-40B4-BE49-F238E27FC236}">
                <a16:creationId xmlns:a16="http://schemas.microsoft.com/office/drawing/2014/main" id="{40DADDAD-ED55-DF99-AD8B-8986AE57424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0026" y="3717409"/>
            <a:ext cx="1115972" cy="1115972"/>
          </a:xfrm>
          <a:prstGeom prst="rect">
            <a:avLst/>
          </a:prstGeom>
        </p:spPr>
      </p:pic>
      <p:pic>
        <p:nvPicPr>
          <p:cNvPr id="10" name="Graphic 9" descr="User with solid fill">
            <a:extLst>
              <a:ext uri="{FF2B5EF4-FFF2-40B4-BE49-F238E27FC236}">
                <a16:creationId xmlns:a16="http://schemas.microsoft.com/office/drawing/2014/main" id="{333A2DE6-3254-BBEE-56B9-6F80CF5DCA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42623" y="3676529"/>
            <a:ext cx="1115973" cy="111597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9A799EF1-DAAA-AF4B-A5B4-4F4DE76D6DF3}"/>
              </a:ext>
            </a:extLst>
          </p:cNvPr>
          <p:cNvSpPr/>
          <p:nvPr/>
        </p:nvSpPr>
        <p:spPr>
          <a:xfrm>
            <a:off x="655420" y="2432394"/>
            <a:ext cx="2403176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ole</a:t>
            </a:r>
            <a:endParaRPr lang="en-US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2054" name="Picture 6" descr="Image result for technical skills clipart">
            <a:extLst>
              <a:ext uri="{FF2B5EF4-FFF2-40B4-BE49-F238E27FC236}">
                <a16:creationId xmlns:a16="http://schemas.microsoft.com/office/drawing/2014/main" id="{197D9D2E-EAF9-4909-741A-A5280E2D3E3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7906"/>
          <a:stretch/>
        </p:blipFill>
        <p:spPr bwMode="auto">
          <a:xfrm>
            <a:off x="4340955" y="2354804"/>
            <a:ext cx="2553340" cy="2478577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F8F91DD-8E7B-0DDF-5EF1-A2215481EF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35294" y="2373220"/>
            <a:ext cx="3892925" cy="24601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Arrow: Right 15">
            <a:extLst>
              <a:ext uri="{FF2B5EF4-FFF2-40B4-BE49-F238E27FC236}">
                <a16:creationId xmlns:a16="http://schemas.microsoft.com/office/drawing/2014/main" id="{F9DDCDA7-C293-0600-34AB-FD1001A3F120}"/>
              </a:ext>
            </a:extLst>
          </p:cNvPr>
          <p:cNvSpPr/>
          <p:nvPr/>
        </p:nvSpPr>
        <p:spPr>
          <a:xfrm>
            <a:off x="3343275" y="3335378"/>
            <a:ext cx="548640" cy="484632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9E034C56-1334-9C71-C06A-2A3CCCEFD4B5}"/>
              </a:ext>
            </a:extLst>
          </p:cNvPr>
          <p:cNvSpPr/>
          <p:nvPr/>
        </p:nvSpPr>
        <p:spPr>
          <a:xfrm>
            <a:off x="7040474" y="3244757"/>
            <a:ext cx="548640" cy="484632"/>
          </a:xfrm>
          <a:prstGeom prst="rightArrow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C9151E6-4C4A-29C8-70DA-AEA868F43B32}"/>
              </a:ext>
            </a:extLst>
          </p:cNvPr>
          <p:cNvSpPr/>
          <p:nvPr/>
        </p:nvSpPr>
        <p:spPr>
          <a:xfrm>
            <a:off x="7589114" y="2440731"/>
            <a:ext cx="2047961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erform a Job </a:t>
            </a:r>
            <a:endParaRPr lang="en-US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891AF94-EC58-2429-95B2-0E5D7571F4B7}"/>
              </a:ext>
            </a:extLst>
          </p:cNvPr>
          <p:cNvSpPr/>
          <p:nvPr/>
        </p:nvSpPr>
        <p:spPr>
          <a:xfrm>
            <a:off x="367430" y="1306402"/>
            <a:ext cx="881844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kills identification and development is core element to competency program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6EB72D1-E539-D4D8-D230-771593CD95B2}"/>
              </a:ext>
            </a:extLst>
          </p:cNvPr>
          <p:cNvGrpSpPr/>
          <p:nvPr/>
        </p:nvGrpSpPr>
        <p:grpSpPr>
          <a:xfrm>
            <a:off x="10073818" y="27932"/>
            <a:ext cx="2100630" cy="835351"/>
            <a:chOff x="737946" y="2545833"/>
            <a:chExt cx="2100630" cy="83535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84D802BF-F7D0-86FC-3B35-7CA659A93321}"/>
                </a:ext>
              </a:extLst>
            </p:cNvPr>
            <p:cNvSpPr/>
            <p:nvPr/>
          </p:nvSpPr>
          <p:spPr>
            <a:xfrm>
              <a:off x="737946" y="2545833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3" name="Rectangle: Rounded Corners 4">
              <a:extLst>
                <a:ext uri="{FF2B5EF4-FFF2-40B4-BE49-F238E27FC236}">
                  <a16:creationId xmlns:a16="http://schemas.microsoft.com/office/drawing/2014/main" id="{10141012-CB75-71EE-0B17-21265F28DCEC}"/>
                </a:ext>
              </a:extLst>
            </p:cNvPr>
            <p:cNvSpPr txBox="1"/>
            <p:nvPr/>
          </p:nvSpPr>
          <p:spPr>
            <a:xfrm>
              <a:off x="762413" y="2570300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 dirty="0"/>
                <a:t>Step 1: Workforce Skills Assess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68125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31986873-7772-C94D-BB4A-24C8F99364A6}"/>
              </a:ext>
            </a:extLst>
          </p:cNvPr>
          <p:cNvSpPr/>
          <p:nvPr/>
        </p:nvSpPr>
        <p:spPr>
          <a:xfrm>
            <a:off x="495299" y="1579399"/>
            <a:ext cx="5872676" cy="3783360"/>
          </a:xfrm>
          <a:prstGeom prst="rect">
            <a:avLst/>
          </a:prstGeom>
          <a:solidFill>
            <a:schemeClr val="accent6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84C240-93CA-DD7E-4062-B22C36F00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orce skills assess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AD6FB6-37FC-53FE-1A56-D1990AF09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7</a:t>
            </a:fld>
            <a:endParaRPr lang="en-US"/>
          </a:p>
        </p:txBody>
      </p:sp>
      <p:pic>
        <p:nvPicPr>
          <p:cNvPr id="9" name="Graphic 8" descr="User with solid fill">
            <a:extLst>
              <a:ext uri="{FF2B5EF4-FFF2-40B4-BE49-F238E27FC236}">
                <a16:creationId xmlns:a16="http://schemas.microsoft.com/office/drawing/2014/main" id="{C3A6C2D7-2020-183D-E239-336562DF03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0884" y="1579399"/>
            <a:ext cx="1040729" cy="1040729"/>
          </a:xfrm>
          <a:prstGeom prst="rect">
            <a:avLst/>
          </a:prstGeom>
        </p:spPr>
      </p:pic>
      <p:pic>
        <p:nvPicPr>
          <p:cNvPr id="10" name="Graphic 9" descr="User with solid fill">
            <a:extLst>
              <a:ext uri="{FF2B5EF4-FFF2-40B4-BE49-F238E27FC236}">
                <a16:creationId xmlns:a16="http://schemas.microsoft.com/office/drawing/2014/main" id="{384DF0D3-992D-BDC8-F879-5C54318569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80458" y="1536006"/>
            <a:ext cx="1178849" cy="117884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8A03556-D366-B2DA-1B51-344D754A2F1C}"/>
              </a:ext>
            </a:extLst>
          </p:cNvPr>
          <p:cNvSpPr/>
          <p:nvPr/>
        </p:nvSpPr>
        <p:spPr>
          <a:xfrm>
            <a:off x="631288" y="2681811"/>
            <a:ext cx="383992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intenance Engine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A02B4C-AEC2-8AFA-4AEC-497DDADB70BE}"/>
              </a:ext>
            </a:extLst>
          </p:cNvPr>
          <p:cNvSpPr/>
          <p:nvPr/>
        </p:nvSpPr>
        <p:spPr>
          <a:xfrm>
            <a:off x="7149922" y="2650522"/>
            <a:ext cx="3839922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perator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C0B39B-BE49-78C1-525A-3B3D0C32B9CB}"/>
              </a:ext>
            </a:extLst>
          </p:cNvPr>
          <p:cNvSpPr txBox="1"/>
          <p:nvPr/>
        </p:nvSpPr>
        <p:spPr>
          <a:xfrm>
            <a:off x="631288" y="3794042"/>
            <a:ext cx="560069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Startup configuration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Routine Preventive Maintenance 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Troubleshooting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098ED2-5ED4-9565-D8B7-A2EE5A34D0B4}"/>
              </a:ext>
            </a:extLst>
          </p:cNvPr>
          <p:cNvSpPr txBox="1"/>
          <p:nvPr/>
        </p:nvSpPr>
        <p:spPr>
          <a:xfrm>
            <a:off x="6571527" y="3855651"/>
            <a:ext cx="458063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Operational Startup/Setup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oading and Unloading</a:t>
            </a:r>
          </a:p>
          <a:p>
            <a:pPr marL="285750" marR="0" lvl="0" indent="-2857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dvance Batch Movement Planning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CBAE350-6A5B-02DA-2A3E-7C960B73CC8E}"/>
              </a:ext>
            </a:extLst>
          </p:cNvPr>
          <p:cNvSpPr/>
          <p:nvPr/>
        </p:nvSpPr>
        <p:spPr>
          <a:xfrm>
            <a:off x="6367975" y="1579399"/>
            <a:ext cx="5235829" cy="378336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CE55F0-50DD-4133-E1FB-E04A0B82209E}"/>
              </a:ext>
            </a:extLst>
          </p:cNvPr>
          <p:cNvSpPr/>
          <p:nvPr/>
        </p:nvSpPr>
        <p:spPr>
          <a:xfrm>
            <a:off x="740067" y="3419156"/>
            <a:ext cx="108985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ey Skill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15E5CC7-BC7A-5D4A-403E-666174C1A775}"/>
              </a:ext>
            </a:extLst>
          </p:cNvPr>
          <p:cNvSpPr/>
          <p:nvPr/>
        </p:nvSpPr>
        <p:spPr>
          <a:xfrm>
            <a:off x="6503963" y="3493957"/>
            <a:ext cx="108985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ey Skill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770879-40C5-59A1-7461-55FB11172F0E}"/>
              </a:ext>
            </a:extLst>
          </p:cNvPr>
          <p:cNvCxnSpPr/>
          <p:nvPr/>
        </p:nvCxnSpPr>
        <p:spPr>
          <a:xfrm>
            <a:off x="813214" y="3143730"/>
            <a:ext cx="4880224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3CAFD2-1035-E179-F200-0D9375E96A72}"/>
              </a:ext>
            </a:extLst>
          </p:cNvPr>
          <p:cNvCxnSpPr/>
          <p:nvPr/>
        </p:nvCxnSpPr>
        <p:spPr>
          <a:xfrm>
            <a:off x="6545777" y="3126393"/>
            <a:ext cx="4880224" cy="0"/>
          </a:xfrm>
          <a:prstGeom prst="line">
            <a:avLst/>
          </a:prstGeom>
          <a:ln w="952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DFC7C343-136D-205C-A412-3B886B702F42}"/>
              </a:ext>
            </a:extLst>
          </p:cNvPr>
          <p:cNvSpPr/>
          <p:nvPr/>
        </p:nvSpPr>
        <p:spPr>
          <a:xfrm>
            <a:off x="330105" y="1142957"/>
            <a:ext cx="603787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ample: Employee </a:t>
            </a:r>
            <a:r>
              <a:rPr lang="en-US" sz="2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oles</a:t>
            </a:r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in Tank Gauging System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9B65847-3B88-39F7-D5C4-A6A7F7397B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B984C88-8679-4650-3B04-320C7007F850}"/>
              </a:ext>
            </a:extLst>
          </p:cNvPr>
          <p:cNvGrpSpPr/>
          <p:nvPr/>
        </p:nvGrpSpPr>
        <p:grpSpPr>
          <a:xfrm>
            <a:off x="10073818" y="27932"/>
            <a:ext cx="2100630" cy="835351"/>
            <a:chOff x="737946" y="2545833"/>
            <a:chExt cx="2100630" cy="835351"/>
          </a:xfrm>
        </p:grpSpPr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87FE5EB5-DC71-E3B3-CAD1-7BC1F13B9432}"/>
                </a:ext>
              </a:extLst>
            </p:cNvPr>
            <p:cNvSpPr/>
            <p:nvPr/>
          </p:nvSpPr>
          <p:spPr>
            <a:xfrm>
              <a:off x="737946" y="2545833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7" name="Rectangle: Rounded Corners 4">
              <a:extLst>
                <a:ext uri="{FF2B5EF4-FFF2-40B4-BE49-F238E27FC236}">
                  <a16:creationId xmlns:a16="http://schemas.microsoft.com/office/drawing/2014/main" id="{93B6A6BF-116F-68D6-BBCC-53E88ED23A61}"/>
                </a:ext>
              </a:extLst>
            </p:cNvPr>
            <p:cNvSpPr txBox="1"/>
            <p:nvPr/>
          </p:nvSpPr>
          <p:spPr>
            <a:xfrm>
              <a:off x="762413" y="2570300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 dirty="0"/>
                <a:t>Step 1: Workforce Skills Assess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18870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7F58AD6E-5AC9-8037-0BA8-FA80CEF0FA6B}"/>
              </a:ext>
            </a:extLst>
          </p:cNvPr>
          <p:cNvSpPr/>
          <p:nvPr/>
        </p:nvSpPr>
        <p:spPr>
          <a:xfrm>
            <a:off x="495298" y="1579398"/>
            <a:ext cx="11296651" cy="4137809"/>
          </a:xfrm>
          <a:prstGeom prst="rect">
            <a:avLst/>
          </a:prstGeom>
          <a:solidFill>
            <a:schemeClr val="accent6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C9A896A-E479-2435-9BDA-69132A2F9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force SKILLS ASSES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7FAE46-BE7B-3858-1D2A-BA02A07B2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6D51D-B9FC-216E-8384-6AF69FB14B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kill Assessment Frame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760E9E-57B4-057B-987A-73AA9C8C62C1}"/>
              </a:ext>
            </a:extLst>
          </p:cNvPr>
          <p:cNvSpPr/>
          <p:nvPr/>
        </p:nvSpPr>
        <p:spPr>
          <a:xfrm>
            <a:off x="433004" y="1042462"/>
            <a:ext cx="3491661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Know your current skill level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3F6AFB-8C07-8030-C144-7FCE9283B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160" y="1674173"/>
            <a:ext cx="2176897" cy="34830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3165CBE-E01F-13B2-C262-04FE621618A0}"/>
              </a:ext>
            </a:extLst>
          </p:cNvPr>
          <p:cNvSpPr/>
          <p:nvPr/>
        </p:nvSpPr>
        <p:spPr>
          <a:xfrm>
            <a:off x="564745" y="5267584"/>
            <a:ext cx="2413726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nline -Questionnaire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21994D5-0D2E-4324-A3B3-26554F51E787}"/>
              </a:ext>
            </a:extLst>
          </p:cNvPr>
          <p:cNvGraphicFramePr/>
          <p:nvPr/>
        </p:nvGraphicFramePr>
        <p:xfrm>
          <a:off x="3749040" y="1570634"/>
          <a:ext cx="4236720" cy="3856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501933B7-655A-F92A-B539-908DDF225477}"/>
              </a:ext>
            </a:extLst>
          </p:cNvPr>
          <p:cNvSpPr/>
          <p:nvPr/>
        </p:nvSpPr>
        <p:spPr>
          <a:xfrm>
            <a:off x="9196771" y="5093936"/>
            <a:ext cx="184697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urrent Skill Level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E203F86-0D06-3E88-D3B8-6ACD1C83FC33}"/>
              </a:ext>
            </a:extLst>
          </p:cNvPr>
          <p:cNvSpPr/>
          <p:nvPr/>
        </p:nvSpPr>
        <p:spPr>
          <a:xfrm>
            <a:off x="4246024" y="5147732"/>
            <a:ext cx="2451312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kill Score and Mapping</a:t>
            </a:r>
            <a:endParaRPr lang="en-US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DDC6EC-AB32-1B85-C2D3-19A870F84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39262" y="2427938"/>
            <a:ext cx="2654623" cy="175820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9BAF8371-F05A-44D2-BA1E-6F32666E8BD6}"/>
              </a:ext>
            </a:extLst>
          </p:cNvPr>
          <p:cNvGrpSpPr/>
          <p:nvPr/>
        </p:nvGrpSpPr>
        <p:grpSpPr>
          <a:xfrm>
            <a:off x="10073818" y="27932"/>
            <a:ext cx="2100630" cy="835351"/>
            <a:chOff x="737946" y="2545833"/>
            <a:chExt cx="2100630" cy="835351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F8820C22-94F4-C9D3-6205-1AEC8677A338}"/>
                </a:ext>
              </a:extLst>
            </p:cNvPr>
            <p:cNvSpPr/>
            <p:nvPr/>
          </p:nvSpPr>
          <p:spPr>
            <a:xfrm>
              <a:off x="737946" y="2545833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8" name="Rectangle: Rounded Corners 4">
              <a:extLst>
                <a:ext uri="{FF2B5EF4-FFF2-40B4-BE49-F238E27FC236}">
                  <a16:creationId xmlns:a16="http://schemas.microsoft.com/office/drawing/2014/main" id="{C5786ECF-BE8C-377C-7764-80258C45AA7C}"/>
                </a:ext>
              </a:extLst>
            </p:cNvPr>
            <p:cNvSpPr txBox="1"/>
            <p:nvPr/>
          </p:nvSpPr>
          <p:spPr>
            <a:xfrm>
              <a:off x="762413" y="2570300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 dirty="0"/>
                <a:t>Step 1: Workforce Skills Assessmen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76205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8592BFFC-D836-4BEF-8F6C-8E2778931D4A}"/>
              </a:ext>
            </a:extLst>
          </p:cNvPr>
          <p:cNvSpPr/>
          <p:nvPr/>
        </p:nvSpPr>
        <p:spPr>
          <a:xfrm>
            <a:off x="495299" y="1795265"/>
            <a:ext cx="11696701" cy="43769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202586-1C08-EE8A-50F8-4D93FD4C0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 SKIL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CCBAEF-01CA-3587-E460-EEC5A7E34C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9</a:t>
            </a:fld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E197AE2E-B989-FD31-84BF-B17D023493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4055798"/>
              </p:ext>
            </p:extLst>
          </p:nvPr>
        </p:nvGraphicFramePr>
        <p:xfrm>
          <a:off x="2647949" y="2576532"/>
          <a:ext cx="9902825" cy="41031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01F89EF3-4F2D-6013-863B-A583D0BD4BA3}"/>
              </a:ext>
            </a:extLst>
          </p:cNvPr>
          <p:cNvSpPr/>
          <p:nvPr/>
        </p:nvSpPr>
        <p:spPr>
          <a:xfrm>
            <a:off x="420512" y="1099323"/>
            <a:ext cx="466986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ntroduce Learning Path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CDE8530-9F83-8033-346A-C4D94C5136D4}"/>
              </a:ext>
            </a:extLst>
          </p:cNvPr>
          <p:cNvSpPr txBox="1"/>
          <p:nvPr/>
        </p:nvSpPr>
        <p:spPr>
          <a:xfrm>
            <a:off x="2876549" y="3186256"/>
            <a:ext cx="3467100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Precise Level and Inventory Fundament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TGS Basics and Princip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TGS Installation, Startup and</a:t>
            </a:r>
          </a:p>
          <a:p>
            <a:r>
              <a:rPr lang="en-US" sz="1000" dirty="0"/>
              <a:t>    Configu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TGS RPM 1</a:t>
            </a:r>
            <a:r>
              <a:rPr lang="en-US" sz="1000" baseline="30000" dirty="0"/>
              <a:t>st</a:t>
            </a:r>
            <a:r>
              <a:rPr lang="en-US" sz="1000" dirty="0"/>
              <a:t> Leve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203222C-8D32-1245-A52C-49E1C9FF8D5A}"/>
              </a:ext>
            </a:extLst>
          </p:cNvPr>
          <p:cNvSpPr txBox="1"/>
          <p:nvPr/>
        </p:nvSpPr>
        <p:spPr>
          <a:xfrm>
            <a:off x="5850703" y="2576532"/>
            <a:ext cx="627697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Tank Gauging Field Instruments Mainten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Tank Gauging Field Instruments diagnostics</a:t>
            </a:r>
          </a:p>
          <a:p>
            <a:r>
              <a:rPr lang="en-US" sz="1000" dirty="0"/>
              <a:t>     and troubleshooting techniqu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/>
              <a:t>ENRAF Service Tools Softwa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E40B5E-5545-81D3-6D46-0F1829ED0680}"/>
              </a:ext>
            </a:extLst>
          </p:cNvPr>
          <p:cNvSpPr txBox="1"/>
          <p:nvPr/>
        </p:nvSpPr>
        <p:spPr>
          <a:xfrm>
            <a:off x="9362253" y="1908900"/>
            <a:ext cx="282974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/>
              <a:t>ENRAF Service Tools Software for Backup, Maintenance, Diagnostics, Troubleshooting, and related Firmware upgrades. Level 3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49C1A9-AF98-57BA-499A-C3405EDBD03A}"/>
              </a:ext>
            </a:extLst>
          </p:cNvPr>
          <p:cNvSpPr/>
          <p:nvPr/>
        </p:nvSpPr>
        <p:spPr>
          <a:xfrm>
            <a:off x="4296070" y="5427500"/>
            <a:ext cx="6903685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intenance Engineer (Field Instruments)  - TG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256543-4216-B079-858D-E3576950FE4A}"/>
              </a:ext>
            </a:extLst>
          </p:cNvPr>
          <p:cNvSpPr/>
          <p:nvPr/>
        </p:nvSpPr>
        <p:spPr>
          <a:xfrm>
            <a:off x="528009" y="1939666"/>
            <a:ext cx="445487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raining Modules for each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0B572A9-CE6E-3ED1-D314-485D75EF15C8}"/>
              </a:ext>
            </a:extLst>
          </p:cNvPr>
          <p:cNvGrpSpPr/>
          <p:nvPr/>
        </p:nvGrpSpPr>
        <p:grpSpPr>
          <a:xfrm>
            <a:off x="10027047" y="39524"/>
            <a:ext cx="2100630" cy="835351"/>
            <a:chOff x="3825009" y="596679"/>
            <a:chExt cx="2100630" cy="835351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0AEB7916-E9D2-0C2F-4F4D-941A4A003C1E}"/>
                </a:ext>
              </a:extLst>
            </p:cNvPr>
            <p:cNvSpPr/>
            <p:nvPr/>
          </p:nvSpPr>
          <p:spPr>
            <a:xfrm>
              <a:off x="3825009" y="596679"/>
              <a:ext cx="2100630" cy="835351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2" name="Rectangle: Rounded Corners 4">
              <a:extLst>
                <a:ext uri="{FF2B5EF4-FFF2-40B4-BE49-F238E27FC236}">
                  <a16:creationId xmlns:a16="http://schemas.microsoft.com/office/drawing/2014/main" id="{EEA79E15-A749-939E-982B-754B45B46C7E}"/>
                </a:ext>
              </a:extLst>
            </p:cNvPr>
            <p:cNvSpPr txBox="1"/>
            <p:nvPr/>
          </p:nvSpPr>
          <p:spPr>
            <a:xfrm>
              <a:off x="3849476" y="621146"/>
              <a:ext cx="2051696" cy="7864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955" tIns="13970" rIns="20955" bIns="1397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b="1" kern="1200"/>
                <a:t>Step 2: Improve and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92461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DESIGN_ID_OFFICE THEME" val="ifmzMDvK"/>
  <p:tag name="ARTICULATE_SLIDE_COUNT" val="21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gPHP3.RcEJm4SB4p3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_v14" id="{4C955DBE-6A6B-4404-A7FC-985F50DCB814}" vid="{9FCABB78-B434-4B7B-86A1-129067C79F9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5ad8ebb-87a4-4f0a-aa2f-1ebf3e12f762">
      <Terms xmlns="http://schemas.microsoft.com/office/infopath/2007/PartnerControls"/>
    </lcf76f155ced4ddcb4097134ff3c332f>
    <TaxCatchAll xmlns="495d2950-d0c5-4778-8058-46ae96e45b46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2F8BDBD9CE4A041B2C2E9A6DAB7236D" ma:contentTypeVersion="14" ma:contentTypeDescription="Create a new document." ma:contentTypeScope="" ma:versionID="a32117282c9a5cba1ddf21458a93379d">
  <xsd:schema xmlns:xsd="http://www.w3.org/2001/XMLSchema" xmlns:xs="http://www.w3.org/2001/XMLSchema" xmlns:p="http://schemas.microsoft.com/office/2006/metadata/properties" xmlns:ns2="75ad8ebb-87a4-4f0a-aa2f-1ebf3e12f762" xmlns:ns3="495d2950-d0c5-4778-8058-46ae96e45b46" targetNamespace="http://schemas.microsoft.com/office/2006/metadata/properties" ma:root="true" ma:fieldsID="c666c19efaab4966b11ac2da3a4f449b" ns2:_="" ns3:_="">
    <xsd:import namespace="75ad8ebb-87a4-4f0a-aa2f-1ebf3e12f762"/>
    <xsd:import namespace="495d2950-d0c5-4778-8058-46ae96e45b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ad8ebb-87a4-4f0a-aa2f-1ebf3e12f7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d2950-d0c5-4778-8058-46ae96e45b4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4a699dd3-6cb6-48fb-8ff4-fcb41ae077b8}" ma:internalName="TaxCatchAll" ma:showField="CatchAllData" ma:web="495d2950-d0c5-4778-8058-46ae96e45b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708868-7E66-4257-9104-84E1D4E991EF}">
  <ds:schemaRefs>
    <ds:schemaRef ds:uri="75ad8ebb-87a4-4f0a-aa2f-1ebf3e12f762"/>
    <ds:schemaRef ds:uri="http://purl.org/dc/elements/1.1/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495d2950-d0c5-4778-8058-46ae96e45b46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4727267-F7BA-4995-B471-E16FC644C3D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1D49885-A232-4F5C-9AF1-FBDB0FFCDA6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5ad8ebb-87a4-4f0a-aa2f-1ebf3e12f762"/>
    <ds:schemaRef ds:uri="495d2950-d0c5-4778-8058-46ae96e45b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544</TotalTime>
  <Words>472</Words>
  <Application>Microsoft Office PowerPoint</Application>
  <PresentationFormat>Widescreen</PresentationFormat>
  <Paragraphs>122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Arial Black</vt:lpstr>
      <vt:lpstr>Calibri</vt:lpstr>
      <vt:lpstr>HelveticaNeue MediumCond</vt:lpstr>
      <vt:lpstr>Honeywell Sans</vt:lpstr>
      <vt:lpstr>Wingdings</vt:lpstr>
      <vt:lpstr>Honeywell 2019</vt:lpstr>
      <vt:lpstr>think-cell Slide</vt:lpstr>
      <vt:lpstr>PMC COMPETENCY PROGRAM</vt:lpstr>
      <vt:lpstr>Workforce challenges</vt:lpstr>
      <vt:lpstr>TRADITIONAL TRAINING MODEL CHALLENGES</vt:lpstr>
      <vt:lpstr>COMPETENCY PROGRAM</vt:lpstr>
      <vt:lpstr>COMPETENCY PROGRAM ELEMENTS</vt:lpstr>
      <vt:lpstr>Workforce SKILLS ASSESMENT</vt:lpstr>
      <vt:lpstr>Workforce skills assessment</vt:lpstr>
      <vt:lpstr>Workforce SKILLS ASSESMENT</vt:lpstr>
      <vt:lpstr>IMPROVE SKILLS</vt:lpstr>
      <vt:lpstr>IMPROVE &amp; measure</vt:lpstr>
      <vt:lpstr>ACCESS TO EXPERTS</vt:lpstr>
      <vt:lpstr>COMPETENCY PROGRAM </vt:lpstr>
      <vt:lpstr>WHY HONEYWELL?</vt:lpstr>
      <vt:lpstr>THANK YOU</vt:lpstr>
    </vt:vector>
  </TitlesOfParts>
  <Company>Honeyw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rban, Iulian</dc:creator>
  <cp:lastModifiedBy>Balasundaram, Senthil</cp:lastModifiedBy>
  <cp:revision>131</cp:revision>
  <dcterms:created xsi:type="dcterms:W3CDTF">2023-05-24T12:51:56Z</dcterms:created>
  <dcterms:modified xsi:type="dcterms:W3CDTF">2024-04-23T18:2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2E796B7C-230B-4E3C-B5C3-1E1AF43E1414</vt:lpwstr>
  </property>
  <property fmtid="{D5CDD505-2E9C-101B-9397-08002B2CF9AE}" pid="3" name="ArticulatePath">
    <vt:lpwstr>Presentation1</vt:lpwstr>
  </property>
  <property fmtid="{D5CDD505-2E9C-101B-9397-08002B2CF9AE}" pid="4" name="MSIP_Label_d546e5e1-5d42-4630-bacd-c69bfdcbd5e8_Enabled">
    <vt:lpwstr>true</vt:lpwstr>
  </property>
  <property fmtid="{D5CDD505-2E9C-101B-9397-08002B2CF9AE}" pid="5" name="MSIP_Label_d546e5e1-5d42-4630-bacd-c69bfdcbd5e8_SetDate">
    <vt:lpwstr>2023-05-24T13:22:37Z</vt:lpwstr>
  </property>
  <property fmtid="{D5CDD505-2E9C-101B-9397-08002B2CF9AE}" pid="6" name="MSIP_Label_d546e5e1-5d42-4630-bacd-c69bfdcbd5e8_Method">
    <vt:lpwstr>Standard</vt:lpwstr>
  </property>
  <property fmtid="{D5CDD505-2E9C-101B-9397-08002B2CF9AE}" pid="7" name="MSIP_Label_d546e5e1-5d42-4630-bacd-c69bfdcbd5e8_Name">
    <vt:lpwstr>d546e5e1-5d42-4630-bacd-c69bfdcbd5e8</vt:lpwstr>
  </property>
  <property fmtid="{D5CDD505-2E9C-101B-9397-08002B2CF9AE}" pid="8" name="MSIP_Label_d546e5e1-5d42-4630-bacd-c69bfdcbd5e8_SiteId">
    <vt:lpwstr>96ece526-9c7d-48b0-8daf-8b93c90a5d18</vt:lpwstr>
  </property>
  <property fmtid="{D5CDD505-2E9C-101B-9397-08002B2CF9AE}" pid="9" name="MSIP_Label_d546e5e1-5d42-4630-bacd-c69bfdcbd5e8_ActionId">
    <vt:lpwstr>701427e2-c411-4ac6-b363-4b753cafeaa6</vt:lpwstr>
  </property>
  <property fmtid="{D5CDD505-2E9C-101B-9397-08002B2CF9AE}" pid="10" name="MSIP_Label_d546e5e1-5d42-4630-bacd-c69bfdcbd5e8_ContentBits">
    <vt:lpwstr>0</vt:lpwstr>
  </property>
  <property fmtid="{D5CDD505-2E9C-101B-9397-08002B2CF9AE}" pid="11" name="SmartTag">
    <vt:lpwstr>4</vt:lpwstr>
  </property>
  <property fmtid="{D5CDD505-2E9C-101B-9397-08002B2CF9AE}" pid="12" name="ContentTypeId">
    <vt:lpwstr>0x01010032F8BDBD9CE4A041B2C2E9A6DAB7236D</vt:lpwstr>
  </property>
  <property fmtid="{D5CDD505-2E9C-101B-9397-08002B2CF9AE}" pid="13" name="MediaServiceImageTags">
    <vt:lpwstr/>
  </property>
</Properties>
</file>